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51" r:id="rId4"/>
    <p:sldMasterId id="2147484106" r:id="rId5"/>
    <p:sldMasterId id="2147484130" r:id="rId6"/>
    <p:sldMasterId id="2147484626" r:id="rId7"/>
  </p:sldMasterIdLst>
  <p:notesMasterIdLst>
    <p:notesMasterId r:id="rId9"/>
  </p:notesMasterIdLst>
  <p:handoutMasterIdLst>
    <p:handoutMasterId r:id="rId10"/>
  </p:handoutMasterIdLst>
  <p:sldIdLst>
    <p:sldId id="264" r:id="rId8"/>
  </p:sldIdLst>
  <p:sldSz cx="12192000" cy="6858000"/>
  <p:notesSz cx="6808788" cy="9940925"/>
  <p:defaultTextStyle>
    <a:defPPr>
      <a:defRPr lang="en-US"/>
    </a:defPPr>
    <a:lvl1pPr marL="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5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89BD51D-83CA-AB46-2F39-3E19091130C1}" name="EGHBALI, NADIA" initials="NE" userId="S::nadia.eghbali@mccain.ca::9ce3f3a5-14c9-4a35-9778-8013871fdbd0" providerId="AD"/>
  <p188:author id="{77B9DA41-E8E1-ACA6-070E-FBD06F8430A2}" name="KENNEDY, LAURA" initials="KL" userId="S::Laura.Kennedy@mccain.ca::9b725134-5955-49f8-9b37-77bafade7ebe" providerId="AD"/>
  <p188:author id="{9D29FB91-F44D-6400-D9CA-A2E96E5E0954}" name="GRECO, MARIAN" initials="GM" userId="S::marian.greco@mccain.ca::7577f5c5-1f81-4266-b4a1-b523bbaf8c5d" providerId="AD"/>
  <p188:author id="{212B5DD8-95D5-2145-C90A-05635A91F9A4}" name="TRIGGIANI, ANNA" initials="TA" userId="S::anna.triggiani@mccain.ca::002716b2-096e-49b7-9c93-54308138ce21" providerId="AD"/>
  <p188:author id="{170C43F4-31BA-E6AD-5041-71D5B9CECDE3}" name="MAROTTA, COLIN" initials="MC" userId="S::Colin.MAROTTA@mccain.ca::db721174-9670-4e42-bdfd-069f297e987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TZ, HARRISON" initials="BH" lastIdx="1" clrIdx="0">
    <p:extLst>
      <p:ext uri="{19B8F6BF-5375-455C-9EA6-DF929625EA0E}">
        <p15:presenceInfo xmlns:p15="http://schemas.microsoft.com/office/powerpoint/2012/main" userId="S::Harrison.Bartz@mccain.ca::a7e3e876-c6d7-4cf1-8e3c-cb123ee713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E000"/>
    <a:srgbClr val="AF1C1B"/>
    <a:srgbClr val="26C41D"/>
    <a:srgbClr val="002AFF"/>
    <a:srgbClr val="003366"/>
    <a:srgbClr val="B12700"/>
    <a:srgbClr val="FFC21E"/>
    <a:srgbClr val="D9D9D9"/>
    <a:srgbClr val="FFE26E"/>
    <a:srgbClr val="FFF0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31"/>
        <p:guide pos="214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738" y="0"/>
            <a:ext cx="2950475" cy="49877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740EBAF-D955-C443-AB02-2BCBC7797572}" type="datetimeFigureOut">
              <a:rPr lang="en-US" smtClean="0">
                <a:latin typeface="Century Gothic" panose="020B0502020202020204" pitchFamily="34" charset="0"/>
              </a:rPr>
              <a:t>6/24/202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877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738" y="9442154"/>
            <a:ext cx="2950475" cy="49877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9E1DC8B-0A09-DC4E-ABCE-FAAA12F0302B}" type="slidenum">
              <a:rPr lang="en-US" smtClean="0">
                <a:latin typeface="Century Gothic" panose="020B0502020202020204" pitchFamily="34" charset="0"/>
              </a:rPr>
              <a:t>‹#›</a:t>
            </a:fld>
            <a:endParaRPr lang="en-US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85749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 b="0" i="0"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877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 b="0" i="0">
                <a:latin typeface="Century Gothic" panose="020B0502020202020204" pitchFamily="34" charset="0"/>
              </a:defRPr>
            </a:lvl1pPr>
          </a:lstStyle>
          <a:p>
            <a:fld id="{247A641A-FC50-3840-A830-42D90553FE8C}" type="datetimeFigureOut">
              <a:rPr lang="en-US" smtClean="0"/>
              <a:pPr/>
              <a:t>6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69"/>
            <a:ext cx="5447030" cy="391424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 b="0" i="0"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8" y="9442154"/>
            <a:ext cx="2950475" cy="49877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 b="0" i="0">
                <a:latin typeface="Century Gothic" panose="020B0502020202020204" pitchFamily="34" charset="0"/>
              </a:defRPr>
            </a:lvl1pPr>
          </a:lstStyle>
          <a:p>
            <a:fld id="{8C896355-3DDC-9949-861F-AD0908BFCC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77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(full background image)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7C2D4D3-EB39-3847-8386-7D50889C62B9}"/>
              </a:ext>
            </a:extLst>
          </p:cNvPr>
          <p:cNvSpPr/>
          <p:nvPr userDrawn="1"/>
        </p:nvSpPr>
        <p:spPr>
          <a:xfrm>
            <a:off x="-2" y="3635298"/>
            <a:ext cx="12192001" cy="3057237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67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4E10C8-7FE5-5142-AC48-A1903FC7FF0A}"/>
              </a:ext>
            </a:extLst>
          </p:cNvPr>
          <p:cNvSpPr/>
          <p:nvPr userDrawn="1"/>
        </p:nvSpPr>
        <p:spPr>
          <a:xfrm>
            <a:off x="0" y="0"/>
            <a:ext cx="12192000" cy="669253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64B4526-F15C-8649-9729-C36CF5BEAF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862" y="165465"/>
            <a:ext cx="1319876" cy="783095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1B791D0-7E7D-BE49-BE5F-FE0EFE8F0B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1812" y="873124"/>
            <a:ext cx="10325100" cy="799559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2200"/>
              </a:lnSpc>
              <a:defRPr sz="20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05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Date or Caption text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08EAD87-57A8-7C45-95B4-55BB4A4073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30270" y="3888233"/>
            <a:ext cx="15543806" cy="4733504"/>
          </a:xfrm>
          <a:prstGeom prst="rect">
            <a:avLst/>
          </a:prstGeom>
        </p:spPr>
      </p:pic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781811" y="1925424"/>
            <a:ext cx="10312461" cy="1503576"/>
          </a:xfrm>
          <a:prstGeom prst="rect">
            <a:avLst/>
          </a:prstGeom>
        </p:spPr>
        <p:txBody>
          <a:bodyPr/>
          <a:lstStyle>
            <a:lvl1pPr>
              <a:lnSpc>
                <a:spcPts val="5000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.</a:t>
            </a:r>
          </a:p>
        </p:txBody>
      </p:sp>
    </p:spTree>
    <p:extLst>
      <p:ext uri="{BB962C8B-B14F-4D97-AF65-F5344CB8AC3E}">
        <p14:creationId xmlns:p14="http://schemas.microsoft.com/office/powerpoint/2010/main" val="31924654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4982" y="2264954"/>
            <a:ext cx="4211271" cy="1932132"/>
          </a:xfrm>
        </p:spPr>
        <p:txBody>
          <a:bodyPr anchor="t">
            <a:normAutofit/>
          </a:bodyPr>
          <a:lstStyle>
            <a:lvl1pPr algn="l">
              <a:defRPr sz="4800" b="1" i="0" baseline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44570" y="4521201"/>
            <a:ext cx="4211271" cy="1655763"/>
          </a:xfrm>
        </p:spPr>
        <p:txBody>
          <a:bodyPr>
            <a:normAutofit/>
          </a:bodyPr>
          <a:lstStyle>
            <a:lvl1pPr marL="0" indent="0" algn="l">
              <a:buNone/>
              <a:defRPr sz="2667" b="1">
                <a:solidFill>
                  <a:srgbClr val="FDCD0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More information he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-11152" y="6743778"/>
            <a:ext cx="12203152" cy="125375"/>
          </a:xfrm>
          <a:prstGeom prst="rect">
            <a:avLst/>
          </a:prstGeom>
          <a:solidFill>
            <a:srgbClr val="FFE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40" y="236615"/>
            <a:ext cx="2112235" cy="125169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-48682" y="6693363"/>
            <a:ext cx="1891865" cy="1949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7"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 © 2019 McCain Foods</a:t>
            </a:r>
          </a:p>
        </p:txBody>
      </p:sp>
    </p:spTree>
    <p:extLst>
      <p:ext uri="{BB962C8B-B14F-4D97-AF65-F5344CB8AC3E}">
        <p14:creationId xmlns:p14="http://schemas.microsoft.com/office/powerpoint/2010/main" val="35107743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 + Content r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1033765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3E4F2C31-1BB6-BD4E-AF74-DC367CD8ED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2133601"/>
            <a:ext cx="4803648" cy="45476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24000" anchor="ctr" anchorCtr="1">
            <a:norm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an imag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9639389-E315-5E45-AF12-B5481C498C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801" y="2133850"/>
            <a:ext cx="608638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5827F51-90DD-454A-AB12-94C9535879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4554789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>
            <a:extLst>
              <a:ext uri="{FF2B5EF4-FFF2-40B4-BE49-F238E27FC236}">
                <a16:creationId xmlns:a16="http://schemas.microsoft.com/office/drawing/2014/main" id="{44E26375-E97E-D084-BC76-07964A64EB06}"/>
              </a:ext>
            </a:extLst>
          </p:cNvPr>
          <p:cNvSpPr/>
          <p:nvPr userDrawn="1"/>
        </p:nvSpPr>
        <p:spPr>
          <a:xfrm>
            <a:off x="0" y="481331"/>
            <a:ext cx="13120071" cy="6376669"/>
          </a:xfrm>
          <a:custGeom>
            <a:avLst/>
            <a:gdLst/>
            <a:ahLst/>
            <a:cxnLst/>
            <a:rect l="l" t="t" r="r" b="b"/>
            <a:pathLst>
              <a:path w="17344390" h="7697470">
                <a:moveTo>
                  <a:pt x="17344327" y="7697229"/>
                </a:moveTo>
                <a:lnTo>
                  <a:pt x="14988655" y="1237653"/>
                </a:lnTo>
                <a:lnTo>
                  <a:pt x="14966963" y="1198905"/>
                </a:lnTo>
                <a:lnTo>
                  <a:pt x="14934235" y="1174038"/>
                </a:lnTo>
                <a:lnTo>
                  <a:pt x="14895411" y="1163472"/>
                </a:lnTo>
                <a:lnTo>
                  <a:pt x="14855432" y="1167625"/>
                </a:lnTo>
                <a:lnTo>
                  <a:pt x="14819198" y="1186891"/>
                </a:lnTo>
                <a:lnTo>
                  <a:pt x="14791665" y="1221701"/>
                </a:lnTo>
                <a:lnTo>
                  <a:pt x="14713992" y="1375892"/>
                </a:lnTo>
                <a:lnTo>
                  <a:pt x="13712889" y="3377628"/>
                </a:lnTo>
                <a:lnTo>
                  <a:pt x="13698398" y="3394900"/>
                </a:lnTo>
                <a:lnTo>
                  <a:pt x="13678700" y="3403333"/>
                </a:lnTo>
                <a:lnTo>
                  <a:pt x="13657275" y="3402330"/>
                </a:lnTo>
                <a:lnTo>
                  <a:pt x="13637616" y="3391268"/>
                </a:lnTo>
                <a:lnTo>
                  <a:pt x="13594487" y="3351060"/>
                </a:lnTo>
                <a:lnTo>
                  <a:pt x="13404723" y="3172053"/>
                </a:lnTo>
                <a:lnTo>
                  <a:pt x="12829705" y="2624975"/>
                </a:lnTo>
                <a:lnTo>
                  <a:pt x="12793713" y="2595994"/>
                </a:lnTo>
                <a:lnTo>
                  <a:pt x="12754877" y="2574328"/>
                </a:lnTo>
                <a:lnTo>
                  <a:pt x="12714046" y="2559774"/>
                </a:lnTo>
                <a:lnTo>
                  <a:pt x="12672060" y="2552179"/>
                </a:lnTo>
                <a:lnTo>
                  <a:pt x="12629769" y="2551341"/>
                </a:lnTo>
                <a:lnTo>
                  <a:pt x="12588024" y="2557068"/>
                </a:lnTo>
                <a:lnTo>
                  <a:pt x="12547651" y="2569197"/>
                </a:lnTo>
                <a:lnTo>
                  <a:pt x="12509525" y="2587523"/>
                </a:lnTo>
                <a:lnTo>
                  <a:pt x="12474473" y="2611869"/>
                </a:lnTo>
                <a:lnTo>
                  <a:pt x="12443358" y="2642057"/>
                </a:lnTo>
                <a:lnTo>
                  <a:pt x="12417019" y="2677884"/>
                </a:lnTo>
                <a:lnTo>
                  <a:pt x="12396305" y="2719184"/>
                </a:lnTo>
                <a:lnTo>
                  <a:pt x="12191721" y="3234753"/>
                </a:lnTo>
                <a:lnTo>
                  <a:pt x="11463426" y="1237653"/>
                </a:lnTo>
                <a:lnTo>
                  <a:pt x="11441735" y="1198905"/>
                </a:lnTo>
                <a:lnTo>
                  <a:pt x="11409007" y="1174038"/>
                </a:lnTo>
                <a:lnTo>
                  <a:pt x="11370183" y="1163472"/>
                </a:lnTo>
                <a:lnTo>
                  <a:pt x="11330203" y="1167625"/>
                </a:lnTo>
                <a:lnTo>
                  <a:pt x="11293970" y="1186891"/>
                </a:lnTo>
                <a:lnTo>
                  <a:pt x="11266437" y="1221701"/>
                </a:lnTo>
                <a:lnTo>
                  <a:pt x="11188776" y="1375892"/>
                </a:lnTo>
                <a:lnTo>
                  <a:pt x="10187661" y="3377628"/>
                </a:lnTo>
                <a:lnTo>
                  <a:pt x="10173183" y="3394900"/>
                </a:lnTo>
                <a:lnTo>
                  <a:pt x="10153472" y="3403333"/>
                </a:lnTo>
                <a:lnTo>
                  <a:pt x="10132047" y="3402330"/>
                </a:lnTo>
                <a:lnTo>
                  <a:pt x="10112388" y="3391268"/>
                </a:lnTo>
                <a:lnTo>
                  <a:pt x="10069258" y="3351060"/>
                </a:lnTo>
                <a:lnTo>
                  <a:pt x="9879495" y="3172053"/>
                </a:lnTo>
                <a:lnTo>
                  <a:pt x="9304477" y="2624975"/>
                </a:lnTo>
                <a:lnTo>
                  <a:pt x="9268485" y="2595994"/>
                </a:lnTo>
                <a:lnTo>
                  <a:pt x="9229661" y="2574328"/>
                </a:lnTo>
                <a:lnTo>
                  <a:pt x="9188818" y="2559774"/>
                </a:lnTo>
                <a:lnTo>
                  <a:pt x="9146832" y="2552179"/>
                </a:lnTo>
                <a:lnTo>
                  <a:pt x="9104541" y="2551341"/>
                </a:lnTo>
                <a:lnTo>
                  <a:pt x="9062796" y="2557068"/>
                </a:lnTo>
                <a:lnTo>
                  <a:pt x="9022423" y="2569197"/>
                </a:lnTo>
                <a:lnTo>
                  <a:pt x="8984297" y="2587523"/>
                </a:lnTo>
                <a:lnTo>
                  <a:pt x="8949245" y="2611869"/>
                </a:lnTo>
                <a:lnTo>
                  <a:pt x="8918130" y="2642057"/>
                </a:lnTo>
                <a:lnTo>
                  <a:pt x="8891791" y="2677884"/>
                </a:lnTo>
                <a:lnTo>
                  <a:pt x="8871077" y="2719184"/>
                </a:lnTo>
                <a:lnTo>
                  <a:pt x="8152790" y="4529340"/>
                </a:lnTo>
                <a:lnTo>
                  <a:pt x="6552565" y="1069657"/>
                </a:lnTo>
                <a:lnTo>
                  <a:pt x="6528359" y="1029309"/>
                </a:lnTo>
                <a:lnTo>
                  <a:pt x="6498196" y="995984"/>
                </a:lnTo>
                <a:lnTo>
                  <a:pt x="6463233" y="969797"/>
                </a:lnTo>
                <a:lnTo>
                  <a:pt x="6424638" y="950849"/>
                </a:lnTo>
                <a:lnTo>
                  <a:pt x="6383566" y="939253"/>
                </a:lnTo>
                <a:lnTo>
                  <a:pt x="6341186" y="935126"/>
                </a:lnTo>
                <a:lnTo>
                  <a:pt x="6298654" y="938593"/>
                </a:lnTo>
                <a:lnTo>
                  <a:pt x="6257125" y="949744"/>
                </a:lnTo>
                <a:lnTo>
                  <a:pt x="6217780" y="968717"/>
                </a:lnTo>
                <a:lnTo>
                  <a:pt x="6181763" y="995603"/>
                </a:lnTo>
                <a:lnTo>
                  <a:pt x="6150241" y="1030528"/>
                </a:lnTo>
                <a:lnTo>
                  <a:pt x="5436286" y="1993988"/>
                </a:lnTo>
                <a:lnTo>
                  <a:pt x="5405437" y="2027491"/>
                </a:lnTo>
                <a:lnTo>
                  <a:pt x="5369928" y="2052408"/>
                </a:lnTo>
                <a:lnTo>
                  <a:pt x="5331117" y="2068880"/>
                </a:lnTo>
                <a:lnTo>
                  <a:pt x="5290363" y="2077034"/>
                </a:lnTo>
                <a:lnTo>
                  <a:pt x="5249037" y="2077008"/>
                </a:lnTo>
                <a:lnTo>
                  <a:pt x="5208524" y="2068944"/>
                </a:lnTo>
                <a:lnTo>
                  <a:pt x="5170170" y="2052955"/>
                </a:lnTo>
                <a:lnTo>
                  <a:pt x="5135359" y="2029180"/>
                </a:lnTo>
                <a:lnTo>
                  <a:pt x="5105463" y="1997773"/>
                </a:lnTo>
                <a:lnTo>
                  <a:pt x="5081841" y="1958860"/>
                </a:lnTo>
                <a:lnTo>
                  <a:pt x="4193984" y="72618"/>
                </a:lnTo>
                <a:lnTo>
                  <a:pt x="4168102" y="35610"/>
                </a:lnTo>
                <a:lnTo>
                  <a:pt x="4133773" y="11442"/>
                </a:lnTo>
                <a:lnTo>
                  <a:pt x="4094505" y="0"/>
                </a:lnTo>
                <a:lnTo>
                  <a:pt x="4053840" y="1193"/>
                </a:lnTo>
                <a:lnTo>
                  <a:pt x="4015308" y="14922"/>
                </a:lnTo>
                <a:lnTo>
                  <a:pt x="3982428" y="41059"/>
                </a:lnTo>
                <a:lnTo>
                  <a:pt x="3958729" y="79514"/>
                </a:lnTo>
                <a:lnTo>
                  <a:pt x="2454757" y="3836327"/>
                </a:lnTo>
                <a:lnTo>
                  <a:pt x="1175080" y="1069657"/>
                </a:lnTo>
                <a:lnTo>
                  <a:pt x="1150874" y="1029309"/>
                </a:lnTo>
                <a:lnTo>
                  <a:pt x="1120711" y="995984"/>
                </a:lnTo>
                <a:lnTo>
                  <a:pt x="1085761" y="969797"/>
                </a:lnTo>
                <a:lnTo>
                  <a:pt x="1047165" y="950849"/>
                </a:lnTo>
                <a:lnTo>
                  <a:pt x="1006094" y="939253"/>
                </a:lnTo>
                <a:lnTo>
                  <a:pt x="963714" y="935126"/>
                </a:lnTo>
                <a:lnTo>
                  <a:pt x="921169" y="938593"/>
                </a:lnTo>
                <a:lnTo>
                  <a:pt x="879652" y="949744"/>
                </a:lnTo>
                <a:lnTo>
                  <a:pt x="840295" y="968717"/>
                </a:lnTo>
                <a:lnTo>
                  <a:pt x="804278" y="995603"/>
                </a:lnTo>
                <a:lnTo>
                  <a:pt x="772756" y="1030528"/>
                </a:lnTo>
                <a:lnTo>
                  <a:pt x="58801" y="1993988"/>
                </a:lnTo>
                <a:lnTo>
                  <a:pt x="27965" y="2027491"/>
                </a:lnTo>
                <a:lnTo>
                  <a:pt x="0" y="2047125"/>
                </a:lnTo>
                <a:lnTo>
                  <a:pt x="0" y="7697229"/>
                </a:lnTo>
                <a:lnTo>
                  <a:pt x="910945" y="7697229"/>
                </a:lnTo>
                <a:lnTo>
                  <a:pt x="4240581" y="7697229"/>
                </a:lnTo>
                <a:lnTo>
                  <a:pt x="6895757" y="7697229"/>
                </a:lnTo>
                <a:lnTo>
                  <a:pt x="9618066" y="7697229"/>
                </a:lnTo>
                <a:lnTo>
                  <a:pt x="10420985" y="7697229"/>
                </a:lnTo>
                <a:lnTo>
                  <a:pt x="13819099" y="7697229"/>
                </a:lnTo>
                <a:lnTo>
                  <a:pt x="17344327" y="7697229"/>
                </a:lnTo>
                <a:close/>
              </a:path>
            </a:pathLst>
          </a:custGeom>
          <a:solidFill>
            <a:srgbClr val="FFDF00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79081B45-D361-B49C-6D63-561698899C3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27204" y="1046106"/>
            <a:ext cx="8780088" cy="7459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728"/>
              </a:spcBef>
              <a:defRPr sz="2062" b="0" i="0">
                <a:solidFill>
                  <a:schemeClr val="tx1"/>
                </a:solidFill>
                <a:latin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/>
              <a:t>Subhead goes here</a:t>
            </a:r>
            <a:endParaRPr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E447F89-F3E6-1DAB-E968-4AD3F112BE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8" y="426960"/>
            <a:ext cx="8778240" cy="54894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578" b="1">
                <a:solidFill>
                  <a:srgbClr val="F68610"/>
                </a:solidFill>
              </a:defRPr>
            </a:lvl1pPr>
          </a:lstStyle>
          <a:p>
            <a:pPr lvl="0"/>
            <a:r>
              <a:rPr lang="en-US"/>
              <a:t>Slide title goes her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65F05293-9805-3249-87D6-587D079885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7358" y="1813192"/>
            <a:ext cx="11739440" cy="4480303"/>
          </a:xfrm>
          <a:prstGeom prst="rect">
            <a:avLst/>
          </a:prstGeom>
        </p:spPr>
        <p:txBody>
          <a:bodyPr lIns="0" tIns="0" rIns="0" bIns="0"/>
          <a:lstStyle>
            <a:lvl1pPr>
              <a:defRPr sz="2668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623804" indent="-346558">
              <a:buFont typeface="Wingdings" pitchFamily="2" charset="2"/>
              <a:buChar char="§"/>
              <a:defRPr sz="1940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901050" indent="-346558">
              <a:buFont typeface="Wingdings" pitchFamily="2" charset="2"/>
              <a:buChar char="§"/>
              <a:defRPr sz="1698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>
              <a:defRPr sz="3578">
                <a:latin typeface="Century Gothic" panose="020B0502020202020204" pitchFamily="34" charset="0"/>
              </a:defRPr>
            </a:lvl4pPr>
            <a:lvl5pPr>
              <a:defRPr sz="3578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81563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Freeform 237">
            <a:extLst>
              <a:ext uri="{FF2B5EF4-FFF2-40B4-BE49-F238E27FC236}">
                <a16:creationId xmlns:a16="http://schemas.microsoft.com/office/drawing/2014/main" id="{8FF6D5A1-A2BA-04B2-6137-D61A85B5D39B}"/>
              </a:ext>
            </a:extLst>
          </p:cNvPr>
          <p:cNvSpPr/>
          <p:nvPr/>
        </p:nvSpPr>
        <p:spPr>
          <a:xfrm>
            <a:off x="5511" y="-6452"/>
            <a:ext cx="12186489" cy="6861079"/>
          </a:xfrm>
          <a:custGeom>
            <a:avLst/>
            <a:gdLst>
              <a:gd name="connsiteX0" fmla="*/ 9671008 w 9700744"/>
              <a:gd name="connsiteY0" fmla="*/ 645 h 6861079"/>
              <a:gd name="connsiteX1" fmla="*/ 9700744 w 9700744"/>
              <a:gd name="connsiteY1" fmla="*/ 3296 h 6861079"/>
              <a:gd name="connsiteX2" fmla="*/ 9700744 w 9700744"/>
              <a:gd name="connsiteY2" fmla="*/ 6857808 h 6861079"/>
              <a:gd name="connsiteX3" fmla="*/ 9670894 w 9700744"/>
              <a:gd name="connsiteY3" fmla="*/ 6860459 h 6861079"/>
              <a:gd name="connsiteX4" fmla="*/ 36529 w 9700744"/>
              <a:gd name="connsiteY4" fmla="*/ 6860459 h 6861079"/>
              <a:gd name="connsiteX5" fmla="*/ 109 w 9700744"/>
              <a:gd name="connsiteY5" fmla="*/ 6824607 h 6861079"/>
              <a:gd name="connsiteX6" fmla="*/ 109 w 9700744"/>
              <a:gd name="connsiteY6" fmla="*/ 5116599 h 6861079"/>
              <a:gd name="connsiteX7" fmla="*/ 109 w 9700744"/>
              <a:gd name="connsiteY7" fmla="*/ 50677 h 6861079"/>
              <a:gd name="connsiteX8" fmla="*/ 50014 w 9700744"/>
              <a:gd name="connsiteY8" fmla="*/ 645 h 6861079"/>
              <a:gd name="connsiteX9" fmla="*/ 9671008 w 9700744"/>
              <a:gd name="connsiteY9" fmla="*/ 645 h 686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00744" h="6861079">
                <a:moveTo>
                  <a:pt x="9671008" y="645"/>
                </a:moveTo>
                <a:cubicBezTo>
                  <a:pt x="9680921" y="645"/>
                  <a:pt x="9691293" y="-1891"/>
                  <a:pt x="9700744" y="3296"/>
                </a:cubicBezTo>
                <a:lnTo>
                  <a:pt x="9700744" y="6857808"/>
                </a:lnTo>
                <a:cubicBezTo>
                  <a:pt x="9691178" y="6862996"/>
                  <a:pt x="9680805" y="6860459"/>
                  <a:pt x="9670894" y="6860459"/>
                </a:cubicBezTo>
                <a:lnTo>
                  <a:pt x="36529" y="6860459"/>
                </a:lnTo>
                <a:cubicBezTo>
                  <a:pt x="224" y="6860575"/>
                  <a:pt x="109" y="6860459"/>
                  <a:pt x="109" y="6824607"/>
                </a:cubicBezTo>
                <a:cubicBezTo>
                  <a:pt x="109" y="6255233"/>
                  <a:pt x="109" y="5685974"/>
                  <a:pt x="109" y="5116599"/>
                </a:cubicBezTo>
                <a:cubicBezTo>
                  <a:pt x="109" y="3427958"/>
                  <a:pt x="109" y="1739318"/>
                  <a:pt x="109" y="50677"/>
                </a:cubicBezTo>
                <a:cubicBezTo>
                  <a:pt x="-7" y="-9500"/>
                  <a:pt x="-4040" y="645"/>
                  <a:pt x="50014" y="645"/>
                </a:cubicBezTo>
                <a:lnTo>
                  <a:pt x="9671008" y="645"/>
                </a:lnTo>
                <a:close/>
              </a:path>
            </a:pathLst>
          </a:custGeom>
          <a:solidFill>
            <a:schemeClr val="accent5"/>
          </a:solidFill>
          <a:ln w="1151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>
              <a:latin typeface="Lato" panose="020F0502020204030203" pitchFamily="34" charset="77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EB09FA8-A391-9521-2AB1-00F36A079DC9}"/>
              </a:ext>
            </a:extLst>
          </p:cNvPr>
          <p:cNvGrpSpPr/>
          <p:nvPr userDrawn="1"/>
        </p:nvGrpSpPr>
        <p:grpSpPr>
          <a:xfrm>
            <a:off x="4441588" y="2683"/>
            <a:ext cx="7508013" cy="6854165"/>
            <a:chOff x="4441587" y="2682"/>
            <a:chExt cx="7508013" cy="6854165"/>
          </a:xfrm>
        </p:grpSpPr>
        <p:grpSp>
          <p:nvGrpSpPr>
            <p:cNvPr id="305" name="Group 304">
              <a:extLst>
                <a:ext uri="{FF2B5EF4-FFF2-40B4-BE49-F238E27FC236}">
                  <a16:creationId xmlns:a16="http://schemas.microsoft.com/office/drawing/2014/main" id="{F05515CC-BF25-DE53-A998-B706BEF72913}"/>
                </a:ext>
              </a:extLst>
            </p:cNvPr>
            <p:cNvGrpSpPr/>
            <p:nvPr userDrawn="1"/>
          </p:nvGrpSpPr>
          <p:grpSpPr>
            <a:xfrm>
              <a:off x="4656076" y="3258"/>
              <a:ext cx="7293524" cy="6710105"/>
              <a:chOff x="4656076" y="3258"/>
              <a:chExt cx="7293524" cy="6710105"/>
            </a:xfrm>
            <a:solidFill>
              <a:srgbClr val="F9AA62"/>
            </a:solidFill>
          </p:grpSpPr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362B5BAD-D21B-F6A4-E5FC-CED33171391E}"/>
                  </a:ext>
                </a:extLst>
              </p:cNvPr>
              <p:cNvSpPr/>
              <p:nvPr/>
            </p:nvSpPr>
            <p:spPr>
              <a:xfrm>
                <a:off x="10586779" y="857668"/>
                <a:ext cx="466106" cy="461863"/>
              </a:xfrm>
              <a:custGeom>
                <a:avLst/>
                <a:gdLst>
                  <a:gd name="connsiteX0" fmla="*/ 232192 w 466106"/>
                  <a:gd name="connsiteY0" fmla="*/ 461411 h 461863"/>
                  <a:gd name="connsiteX1" fmla="*/ 182748 w 466106"/>
                  <a:gd name="connsiteY1" fmla="*/ 458068 h 461863"/>
                  <a:gd name="connsiteX2" fmla="*/ 12286 w 466106"/>
                  <a:gd name="connsiteY2" fmla="*/ 307857 h 461863"/>
                  <a:gd name="connsiteX3" fmla="*/ 27731 w 466106"/>
                  <a:gd name="connsiteY3" fmla="*/ 135050 h 461863"/>
                  <a:gd name="connsiteX4" fmla="*/ 134917 w 466106"/>
                  <a:gd name="connsiteY4" fmla="*/ 20691 h 461863"/>
                  <a:gd name="connsiteX5" fmla="*/ 395623 w 466106"/>
                  <a:gd name="connsiteY5" fmla="*/ 60348 h 461863"/>
                  <a:gd name="connsiteX6" fmla="*/ 458783 w 466106"/>
                  <a:gd name="connsiteY6" fmla="*/ 177704 h 461863"/>
                  <a:gd name="connsiteX7" fmla="*/ 442417 w 466106"/>
                  <a:gd name="connsiteY7" fmla="*/ 349934 h 461863"/>
                  <a:gd name="connsiteX8" fmla="*/ 327393 w 466106"/>
                  <a:gd name="connsiteY8" fmla="*/ 446886 h 461863"/>
                  <a:gd name="connsiteX9" fmla="*/ 232192 w 466106"/>
                  <a:gd name="connsiteY9" fmla="*/ 461527 h 461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106" h="461863">
                    <a:moveTo>
                      <a:pt x="232192" y="461411"/>
                    </a:moveTo>
                    <a:cubicBezTo>
                      <a:pt x="215711" y="460374"/>
                      <a:pt x="198999" y="460604"/>
                      <a:pt x="182748" y="458068"/>
                    </a:cubicBezTo>
                    <a:cubicBezTo>
                      <a:pt x="94578" y="443773"/>
                      <a:pt x="42944" y="389591"/>
                      <a:pt x="12286" y="307857"/>
                    </a:cubicBezTo>
                    <a:cubicBezTo>
                      <a:pt x="-10879" y="246181"/>
                      <a:pt x="1222" y="190615"/>
                      <a:pt x="27731" y="135050"/>
                    </a:cubicBezTo>
                    <a:cubicBezTo>
                      <a:pt x="51242" y="85710"/>
                      <a:pt x="83860" y="44554"/>
                      <a:pt x="134917" y="20691"/>
                    </a:cubicBezTo>
                    <a:cubicBezTo>
                      <a:pt x="211216" y="-14816"/>
                      <a:pt x="327277" y="-6516"/>
                      <a:pt x="395623" y="60348"/>
                    </a:cubicBezTo>
                    <a:cubicBezTo>
                      <a:pt x="428471" y="92396"/>
                      <a:pt x="449678" y="131822"/>
                      <a:pt x="458783" y="177704"/>
                    </a:cubicBezTo>
                    <a:cubicBezTo>
                      <a:pt x="470539" y="236959"/>
                      <a:pt x="470193" y="295176"/>
                      <a:pt x="442417" y="349934"/>
                    </a:cubicBezTo>
                    <a:cubicBezTo>
                      <a:pt x="418098" y="397776"/>
                      <a:pt x="378911" y="430516"/>
                      <a:pt x="327393" y="446886"/>
                    </a:cubicBezTo>
                    <a:cubicBezTo>
                      <a:pt x="296620" y="456685"/>
                      <a:pt x="265040" y="463486"/>
                      <a:pt x="232192" y="461527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59" name="Freeform 258">
                <a:extLst>
                  <a:ext uri="{FF2B5EF4-FFF2-40B4-BE49-F238E27FC236}">
                    <a16:creationId xmlns:a16="http://schemas.microsoft.com/office/drawing/2014/main" id="{EF1A6C9E-1DE0-4124-D57D-49987036ECF3}"/>
                  </a:ext>
                </a:extLst>
              </p:cNvPr>
              <p:cNvSpPr/>
              <p:nvPr/>
            </p:nvSpPr>
            <p:spPr>
              <a:xfrm>
                <a:off x="11501516" y="1544897"/>
                <a:ext cx="448084" cy="498725"/>
              </a:xfrm>
              <a:custGeom>
                <a:avLst/>
                <a:gdLst>
                  <a:gd name="connsiteX0" fmla="*/ 119858 w 448084"/>
                  <a:gd name="connsiteY0" fmla="*/ 498725 h 498725"/>
                  <a:gd name="connsiteX1" fmla="*/ 25811 w 448084"/>
                  <a:gd name="connsiteY1" fmla="*/ 433937 h 498725"/>
                  <a:gd name="connsiteX2" fmla="*/ 53702 w 448084"/>
                  <a:gd name="connsiteY2" fmla="*/ 96278 h 498725"/>
                  <a:gd name="connsiteX3" fmla="*/ 111214 w 448084"/>
                  <a:gd name="connsiteY3" fmla="*/ 33911 h 498725"/>
                  <a:gd name="connsiteX4" fmla="*/ 273953 w 448084"/>
                  <a:gd name="connsiteY4" fmla="*/ 10970 h 498725"/>
                  <a:gd name="connsiteX5" fmla="*/ 437615 w 448084"/>
                  <a:gd name="connsiteY5" fmla="*/ 166254 h 498725"/>
                  <a:gd name="connsiteX6" fmla="*/ 443493 w 448084"/>
                  <a:gd name="connsiteY6" fmla="*/ 261130 h 498725"/>
                  <a:gd name="connsiteX7" fmla="*/ 368923 w 448084"/>
                  <a:gd name="connsiteY7" fmla="*/ 408345 h 498725"/>
                  <a:gd name="connsiteX8" fmla="*/ 322707 w 448084"/>
                  <a:gd name="connsiteY8" fmla="*/ 437396 h 498725"/>
                  <a:gd name="connsiteX9" fmla="*/ 160197 w 448084"/>
                  <a:gd name="connsiteY9" fmla="*/ 490771 h 498725"/>
                  <a:gd name="connsiteX10" fmla="*/ 119858 w 448084"/>
                  <a:gd name="connsiteY10" fmla="*/ 498725 h 498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084" h="498725">
                    <a:moveTo>
                      <a:pt x="119858" y="498725"/>
                    </a:moveTo>
                    <a:cubicBezTo>
                      <a:pt x="73411" y="497111"/>
                      <a:pt x="40563" y="477398"/>
                      <a:pt x="25811" y="433937"/>
                    </a:cubicBezTo>
                    <a:cubicBezTo>
                      <a:pt x="-13492" y="317733"/>
                      <a:pt x="-10726" y="203720"/>
                      <a:pt x="53702" y="96278"/>
                    </a:cubicBezTo>
                    <a:cubicBezTo>
                      <a:pt x="67993" y="72415"/>
                      <a:pt x="89085" y="50973"/>
                      <a:pt x="111214" y="33911"/>
                    </a:cubicBezTo>
                    <a:cubicBezTo>
                      <a:pt x="160197" y="-3901"/>
                      <a:pt x="217479" y="-7821"/>
                      <a:pt x="273953" y="10970"/>
                    </a:cubicBezTo>
                    <a:cubicBezTo>
                      <a:pt x="351520" y="36908"/>
                      <a:pt x="403269" y="93857"/>
                      <a:pt x="437615" y="166254"/>
                    </a:cubicBezTo>
                    <a:cubicBezTo>
                      <a:pt x="451791" y="195996"/>
                      <a:pt x="449256" y="228967"/>
                      <a:pt x="443493" y="261130"/>
                    </a:cubicBezTo>
                    <a:cubicBezTo>
                      <a:pt x="433351" y="317733"/>
                      <a:pt x="413412" y="369495"/>
                      <a:pt x="368923" y="408345"/>
                    </a:cubicBezTo>
                    <a:cubicBezTo>
                      <a:pt x="355323" y="420219"/>
                      <a:pt x="339533" y="431401"/>
                      <a:pt x="322707" y="437396"/>
                    </a:cubicBezTo>
                    <a:cubicBezTo>
                      <a:pt x="269113" y="456648"/>
                      <a:pt x="214598" y="473594"/>
                      <a:pt x="160197" y="490771"/>
                    </a:cubicBezTo>
                    <a:cubicBezTo>
                      <a:pt x="147173" y="494806"/>
                      <a:pt x="133343" y="496074"/>
                      <a:pt x="119858" y="49872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0" name="Freeform 259">
                <a:extLst>
                  <a:ext uri="{FF2B5EF4-FFF2-40B4-BE49-F238E27FC236}">
                    <a16:creationId xmlns:a16="http://schemas.microsoft.com/office/drawing/2014/main" id="{555BC761-0721-F396-99F4-30DBFD2E94F0}"/>
                  </a:ext>
                </a:extLst>
              </p:cNvPr>
              <p:cNvSpPr/>
              <p:nvPr/>
            </p:nvSpPr>
            <p:spPr>
              <a:xfrm>
                <a:off x="10135946" y="155709"/>
                <a:ext cx="447675" cy="494472"/>
              </a:xfrm>
              <a:custGeom>
                <a:avLst/>
                <a:gdLst>
                  <a:gd name="connsiteX0" fmla="*/ 447675 w 447675"/>
                  <a:gd name="connsiteY0" fmla="*/ 222906 h 494472"/>
                  <a:gd name="connsiteX1" fmla="*/ 384285 w 447675"/>
                  <a:gd name="connsiteY1" fmla="*/ 392139 h 494472"/>
                  <a:gd name="connsiteX2" fmla="*/ 314210 w 447675"/>
                  <a:gd name="connsiteY2" fmla="*/ 438712 h 494472"/>
                  <a:gd name="connsiteX3" fmla="*/ 212210 w 447675"/>
                  <a:gd name="connsiteY3" fmla="*/ 472720 h 494472"/>
                  <a:gd name="connsiteX4" fmla="*/ 115857 w 447675"/>
                  <a:gd name="connsiteY4" fmla="*/ 494393 h 494472"/>
                  <a:gd name="connsiteX5" fmla="*/ 21694 w 447675"/>
                  <a:gd name="connsiteY5" fmla="*/ 425455 h 494472"/>
                  <a:gd name="connsiteX6" fmla="*/ 833 w 447675"/>
                  <a:gd name="connsiteY6" fmla="*/ 264983 h 494472"/>
                  <a:gd name="connsiteX7" fmla="*/ 63992 w 447675"/>
                  <a:gd name="connsiteY7" fmla="*/ 76729 h 494472"/>
                  <a:gd name="connsiteX8" fmla="*/ 295424 w 447675"/>
                  <a:gd name="connsiteY8" fmla="*/ 18397 h 494472"/>
                  <a:gd name="connsiteX9" fmla="*/ 430617 w 447675"/>
                  <a:gd name="connsiteY9" fmla="*/ 151662 h 494472"/>
                  <a:gd name="connsiteX10" fmla="*/ 447560 w 447675"/>
                  <a:gd name="connsiteY10" fmla="*/ 222906 h 494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7675" h="494472">
                    <a:moveTo>
                      <a:pt x="447675" y="222906"/>
                    </a:moveTo>
                    <a:cubicBezTo>
                      <a:pt x="443756" y="286887"/>
                      <a:pt x="422550" y="342683"/>
                      <a:pt x="384285" y="392139"/>
                    </a:cubicBezTo>
                    <a:cubicBezTo>
                      <a:pt x="366421" y="415195"/>
                      <a:pt x="342563" y="430182"/>
                      <a:pt x="314210" y="438712"/>
                    </a:cubicBezTo>
                    <a:cubicBezTo>
                      <a:pt x="279980" y="449088"/>
                      <a:pt x="245980" y="460731"/>
                      <a:pt x="212210" y="472720"/>
                    </a:cubicBezTo>
                    <a:cubicBezTo>
                      <a:pt x="180860" y="483787"/>
                      <a:pt x="149857" y="493240"/>
                      <a:pt x="115857" y="494393"/>
                    </a:cubicBezTo>
                    <a:cubicBezTo>
                      <a:pt x="68257" y="496007"/>
                      <a:pt x="37138" y="472836"/>
                      <a:pt x="21694" y="425455"/>
                    </a:cubicBezTo>
                    <a:cubicBezTo>
                      <a:pt x="4752" y="373463"/>
                      <a:pt x="-2625" y="319511"/>
                      <a:pt x="833" y="264983"/>
                    </a:cubicBezTo>
                    <a:cubicBezTo>
                      <a:pt x="5213" y="196967"/>
                      <a:pt x="22847" y="133102"/>
                      <a:pt x="63992" y="76729"/>
                    </a:cubicBezTo>
                    <a:cubicBezTo>
                      <a:pt x="124271" y="-5928"/>
                      <a:pt x="223620" y="-15611"/>
                      <a:pt x="295424" y="18397"/>
                    </a:cubicBezTo>
                    <a:cubicBezTo>
                      <a:pt x="355817" y="46986"/>
                      <a:pt x="399499" y="94136"/>
                      <a:pt x="430617" y="151662"/>
                    </a:cubicBezTo>
                    <a:cubicBezTo>
                      <a:pt x="441797" y="172412"/>
                      <a:pt x="442258" y="198927"/>
                      <a:pt x="447560" y="22290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1" name="Freeform 260">
                <a:extLst>
                  <a:ext uri="{FF2B5EF4-FFF2-40B4-BE49-F238E27FC236}">
                    <a16:creationId xmlns:a16="http://schemas.microsoft.com/office/drawing/2014/main" id="{F5390447-A16E-9647-3B42-B41AB4DB20D1}"/>
                  </a:ext>
                </a:extLst>
              </p:cNvPr>
              <p:cNvSpPr/>
              <p:nvPr/>
            </p:nvSpPr>
            <p:spPr>
              <a:xfrm>
                <a:off x="8088524" y="3046354"/>
                <a:ext cx="466287" cy="449981"/>
              </a:xfrm>
              <a:custGeom>
                <a:avLst/>
                <a:gdLst>
                  <a:gd name="connsiteX0" fmla="*/ 263537 w 466287"/>
                  <a:gd name="connsiteY0" fmla="*/ 449352 h 449981"/>
                  <a:gd name="connsiteX1" fmla="*/ 77517 w 466287"/>
                  <a:gd name="connsiteY1" fmla="*/ 404853 h 449981"/>
                  <a:gd name="connsiteX2" fmla="*/ 3984 w 466287"/>
                  <a:gd name="connsiteY2" fmla="*/ 262942 h 449981"/>
                  <a:gd name="connsiteX3" fmla="*/ 218127 w 466287"/>
                  <a:gd name="connsiteY3" fmla="*/ 8055 h 449981"/>
                  <a:gd name="connsiteX4" fmla="*/ 324046 w 466287"/>
                  <a:gd name="connsiteY4" fmla="*/ 19237 h 449981"/>
                  <a:gd name="connsiteX5" fmla="*/ 436304 w 466287"/>
                  <a:gd name="connsiteY5" fmla="*/ 120108 h 449981"/>
                  <a:gd name="connsiteX6" fmla="*/ 458318 w 466287"/>
                  <a:gd name="connsiteY6" fmla="*/ 244612 h 449981"/>
                  <a:gd name="connsiteX7" fmla="*/ 354588 w 466287"/>
                  <a:gd name="connsiteY7" fmla="*/ 421684 h 449981"/>
                  <a:gd name="connsiteX8" fmla="*/ 283015 w 466287"/>
                  <a:gd name="connsiteY8" fmla="*/ 449582 h 449981"/>
                  <a:gd name="connsiteX9" fmla="*/ 263653 w 466287"/>
                  <a:gd name="connsiteY9" fmla="*/ 449582 h 449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287" h="449981">
                    <a:moveTo>
                      <a:pt x="263537" y="449352"/>
                    </a:moveTo>
                    <a:cubicBezTo>
                      <a:pt x="197842" y="449813"/>
                      <a:pt x="136066" y="434480"/>
                      <a:pt x="77517" y="404853"/>
                    </a:cubicBezTo>
                    <a:cubicBezTo>
                      <a:pt x="4445" y="367733"/>
                      <a:pt x="-8002" y="342486"/>
                      <a:pt x="3984" y="262942"/>
                    </a:cubicBezTo>
                    <a:cubicBezTo>
                      <a:pt x="23001" y="136478"/>
                      <a:pt x="99530" y="53014"/>
                      <a:pt x="218127" y="8055"/>
                    </a:cubicBezTo>
                    <a:cubicBezTo>
                      <a:pt x="254433" y="-5779"/>
                      <a:pt x="290277" y="-1629"/>
                      <a:pt x="324046" y="19237"/>
                    </a:cubicBezTo>
                    <a:cubicBezTo>
                      <a:pt x="367612" y="46097"/>
                      <a:pt x="405070" y="79529"/>
                      <a:pt x="436304" y="120108"/>
                    </a:cubicBezTo>
                    <a:cubicBezTo>
                      <a:pt x="465349" y="157920"/>
                      <a:pt x="474569" y="198845"/>
                      <a:pt x="458318" y="244612"/>
                    </a:cubicBezTo>
                    <a:cubicBezTo>
                      <a:pt x="435037" y="310322"/>
                      <a:pt x="404033" y="371075"/>
                      <a:pt x="354588" y="421684"/>
                    </a:cubicBezTo>
                    <a:cubicBezTo>
                      <a:pt x="334189" y="442550"/>
                      <a:pt x="311599" y="452118"/>
                      <a:pt x="283015" y="449582"/>
                    </a:cubicBezTo>
                    <a:cubicBezTo>
                      <a:pt x="276561" y="449006"/>
                      <a:pt x="270107" y="449582"/>
                      <a:pt x="263653" y="44958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2" name="Freeform 261">
                <a:extLst>
                  <a:ext uri="{FF2B5EF4-FFF2-40B4-BE49-F238E27FC236}">
                    <a16:creationId xmlns:a16="http://schemas.microsoft.com/office/drawing/2014/main" id="{F8541FBB-D175-36E0-21E9-6EEC81A91F8D}"/>
                  </a:ext>
                </a:extLst>
              </p:cNvPr>
              <p:cNvSpPr/>
              <p:nvPr/>
            </p:nvSpPr>
            <p:spPr>
              <a:xfrm>
                <a:off x="9626884" y="3429133"/>
                <a:ext cx="466117" cy="339098"/>
              </a:xfrm>
              <a:custGeom>
                <a:avLst/>
                <a:gdLst>
                  <a:gd name="connsiteX0" fmla="*/ 133244 w 466117"/>
                  <a:gd name="connsiteY0" fmla="*/ 338983 h 339098"/>
                  <a:gd name="connsiteX1" fmla="*/ 71006 w 466117"/>
                  <a:gd name="connsiteY1" fmla="*/ 331144 h 339098"/>
                  <a:gd name="connsiteX2" fmla="*/ 7846 w 466117"/>
                  <a:gd name="connsiteY2" fmla="*/ 269007 h 339098"/>
                  <a:gd name="connsiteX3" fmla="*/ 14647 w 466117"/>
                  <a:gd name="connsiteY3" fmla="*/ 102656 h 339098"/>
                  <a:gd name="connsiteX4" fmla="*/ 103969 w 466117"/>
                  <a:gd name="connsiteY4" fmla="*/ 25303 h 339098"/>
                  <a:gd name="connsiteX5" fmla="*/ 204932 w 466117"/>
                  <a:gd name="connsiteY5" fmla="*/ 11469 h 339098"/>
                  <a:gd name="connsiteX6" fmla="*/ 314770 w 466117"/>
                  <a:gd name="connsiteY6" fmla="*/ 2131 h 339098"/>
                  <a:gd name="connsiteX7" fmla="*/ 389224 w 466117"/>
                  <a:gd name="connsiteY7" fmla="*/ 517 h 339098"/>
                  <a:gd name="connsiteX8" fmla="*/ 445353 w 466117"/>
                  <a:gd name="connsiteY8" fmla="*/ 39367 h 339098"/>
                  <a:gd name="connsiteX9" fmla="*/ 462065 w 466117"/>
                  <a:gd name="connsiteY9" fmla="*/ 100120 h 339098"/>
                  <a:gd name="connsiteX10" fmla="*/ 460105 w 466117"/>
                  <a:gd name="connsiteY10" fmla="*/ 204334 h 339098"/>
                  <a:gd name="connsiteX11" fmla="*/ 392797 w 466117"/>
                  <a:gd name="connsiteY11" fmla="*/ 289988 h 339098"/>
                  <a:gd name="connsiteX12" fmla="*/ 306702 w 466117"/>
                  <a:gd name="connsiteY12" fmla="*/ 318578 h 339098"/>
                  <a:gd name="connsiteX13" fmla="*/ 266017 w 466117"/>
                  <a:gd name="connsiteY13" fmla="*/ 325841 h 339098"/>
                  <a:gd name="connsiteX14" fmla="*/ 133359 w 466117"/>
                  <a:gd name="connsiteY14" fmla="*/ 339098 h 339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66117" h="339098">
                    <a:moveTo>
                      <a:pt x="133244" y="338983"/>
                    </a:moveTo>
                    <a:cubicBezTo>
                      <a:pt x="112843" y="336562"/>
                      <a:pt x="91752" y="335063"/>
                      <a:pt x="71006" y="331144"/>
                    </a:cubicBezTo>
                    <a:cubicBezTo>
                      <a:pt x="36545" y="324688"/>
                      <a:pt x="15799" y="301747"/>
                      <a:pt x="7846" y="269007"/>
                    </a:cubicBezTo>
                    <a:cubicBezTo>
                      <a:pt x="-5638" y="213211"/>
                      <a:pt x="-682" y="157300"/>
                      <a:pt x="14647" y="102656"/>
                    </a:cubicBezTo>
                    <a:cubicBezTo>
                      <a:pt x="27094" y="58042"/>
                      <a:pt x="61325" y="34755"/>
                      <a:pt x="103969" y="25303"/>
                    </a:cubicBezTo>
                    <a:cubicBezTo>
                      <a:pt x="137047" y="17924"/>
                      <a:pt x="171162" y="15042"/>
                      <a:pt x="204932" y="11469"/>
                    </a:cubicBezTo>
                    <a:cubicBezTo>
                      <a:pt x="241468" y="7549"/>
                      <a:pt x="278119" y="4552"/>
                      <a:pt x="314770" y="2131"/>
                    </a:cubicBezTo>
                    <a:cubicBezTo>
                      <a:pt x="339550" y="517"/>
                      <a:pt x="364444" y="-751"/>
                      <a:pt x="389224" y="517"/>
                    </a:cubicBezTo>
                    <a:cubicBezTo>
                      <a:pt x="414926" y="1901"/>
                      <a:pt x="435441" y="15504"/>
                      <a:pt x="445353" y="39367"/>
                    </a:cubicBezTo>
                    <a:cubicBezTo>
                      <a:pt x="453421" y="58619"/>
                      <a:pt x="458722" y="79485"/>
                      <a:pt x="462065" y="100120"/>
                    </a:cubicBezTo>
                    <a:cubicBezTo>
                      <a:pt x="467597" y="134704"/>
                      <a:pt x="467943" y="169635"/>
                      <a:pt x="460105" y="204334"/>
                    </a:cubicBezTo>
                    <a:cubicBezTo>
                      <a:pt x="451116" y="243645"/>
                      <a:pt x="429909" y="273964"/>
                      <a:pt x="392797" y="289988"/>
                    </a:cubicBezTo>
                    <a:cubicBezTo>
                      <a:pt x="365136" y="301862"/>
                      <a:pt x="335631" y="309932"/>
                      <a:pt x="306702" y="318578"/>
                    </a:cubicBezTo>
                    <a:cubicBezTo>
                      <a:pt x="293562" y="322498"/>
                      <a:pt x="279732" y="324342"/>
                      <a:pt x="266017" y="325841"/>
                    </a:cubicBezTo>
                    <a:cubicBezTo>
                      <a:pt x="222220" y="330567"/>
                      <a:pt x="178193" y="334718"/>
                      <a:pt x="133359" y="33909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3" name="Freeform 262">
                <a:extLst>
                  <a:ext uri="{FF2B5EF4-FFF2-40B4-BE49-F238E27FC236}">
                    <a16:creationId xmlns:a16="http://schemas.microsoft.com/office/drawing/2014/main" id="{277D881D-FB06-8715-4C54-A47FA8BFA874}"/>
                  </a:ext>
                </a:extLst>
              </p:cNvPr>
              <p:cNvSpPr/>
              <p:nvPr/>
            </p:nvSpPr>
            <p:spPr>
              <a:xfrm>
                <a:off x="8112447" y="974965"/>
                <a:ext cx="453992" cy="419057"/>
              </a:xfrm>
              <a:custGeom>
                <a:avLst/>
                <a:gdLst>
                  <a:gd name="connsiteX0" fmla="*/ 210685 w 453992"/>
                  <a:gd name="connsiteY0" fmla="*/ 413860 h 419057"/>
                  <a:gd name="connsiteX1" fmla="*/ 179567 w 453992"/>
                  <a:gd name="connsiteY1" fmla="*/ 338927 h 419057"/>
                  <a:gd name="connsiteX2" fmla="*/ 70305 w 453992"/>
                  <a:gd name="connsiteY2" fmla="*/ 240477 h 419057"/>
                  <a:gd name="connsiteX3" fmla="*/ 0 w 453992"/>
                  <a:gd name="connsiteY3" fmla="*/ 220879 h 419057"/>
                  <a:gd name="connsiteX4" fmla="*/ 53593 w 453992"/>
                  <a:gd name="connsiteY4" fmla="*/ 105367 h 419057"/>
                  <a:gd name="connsiteX5" fmla="*/ 294130 w 453992"/>
                  <a:gd name="connsiteY5" fmla="*/ 0 h 419057"/>
                  <a:gd name="connsiteX6" fmla="*/ 377805 w 453992"/>
                  <a:gd name="connsiteY6" fmla="*/ 40925 h 419057"/>
                  <a:gd name="connsiteX7" fmla="*/ 449493 w 453992"/>
                  <a:gd name="connsiteY7" fmla="*/ 182606 h 419057"/>
                  <a:gd name="connsiteX8" fmla="*/ 425981 w 453992"/>
                  <a:gd name="connsiteY8" fmla="*/ 288434 h 419057"/>
                  <a:gd name="connsiteX9" fmla="*/ 299892 w 453992"/>
                  <a:gd name="connsiteY9" fmla="*/ 399219 h 419057"/>
                  <a:gd name="connsiteX10" fmla="*/ 210685 w 453992"/>
                  <a:gd name="connsiteY10" fmla="*/ 413860 h 41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3992" h="419057">
                    <a:moveTo>
                      <a:pt x="210685" y="413860"/>
                    </a:moveTo>
                    <a:cubicBezTo>
                      <a:pt x="208841" y="385270"/>
                      <a:pt x="195817" y="361407"/>
                      <a:pt x="179567" y="338927"/>
                    </a:cubicBezTo>
                    <a:cubicBezTo>
                      <a:pt x="150292" y="298233"/>
                      <a:pt x="113180" y="266069"/>
                      <a:pt x="70305" y="240477"/>
                    </a:cubicBezTo>
                    <a:cubicBezTo>
                      <a:pt x="48752" y="227565"/>
                      <a:pt x="25702" y="219150"/>
                      <a:pt x="0" y="220879"/>
                    </a:cubicBezTo>
                    <a:cubicBezTo>
                      <a:pt x="1383" y="174766"/>
                      <a:pt x="24319" y="137646"/>
                      <a:pt x="53593" y="105367"/>
                    </a:cubicBezTo>
                    <a:cubicBezTo>
                      <a:pt x="117560" y="34815"/>
                      <a:pt x="198583" y="115"/>
                      <a:pt x="294130" y="0"/>
                    </a:cubicBezTo>
                    <a:cubicBezTo>
                      <a:pt x="328821" y="0"/>
                      <a:pt x="355676" y="14525"/>
                      <a:pt x="377805" y="40925"/>
                    </a:cubicBezTo>
                    <a:cubicBezTo>
                      <a:pt x="412842" y="82657"/>
                      <a:pt x="436239" y="129922"/>
                      <a:pt x="449493" y="182606"/>
                    </a:cubicBezTo>
                    <a:cubicBezTo>
                      <a:pt x="459405" y="222032"/>
                      <a:pt x="453527" y="257884"/>
                      <a:pt x="425981" y="288434"/>
                    </a:cubicBezTo>
                    <a:cubicBezTo>
                      <a:pt x="388293" y="330166"/>
                      <a:pt x="349567" y="370745"/>
                      <a:pt x="299892" y="399219"/>
                    </a:cubicBezTo>
                    <a:cubicBezTo>
                      <a:pt x="271540" y="415474"/>
                      <a:pt x="243187" y="425849"/>
                      <a:pt x="210685" y="41386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4" name="Freeform 263">
                <a:extLst>
                  <a:ext uri="{FF2B5EF4-FFF2-40B4-BE49-F238E27FC236}">
                    <a16:creationId xmlns:a16="http://schemas.microsoft.com/office/drawing/2014/main" id="{F0E555C4-B4C1-0A04-EBD2-A45465788A81}"/>
                  </a:ext>
                </a:extLst>
              </p:cNvPr>
              <p:cNvSpPr/>
              <p:nvPr/>
            </p:nvSpPr>
            <p:spPr>
              <a:xfrm>
                <a:off x="9638198" y="2035206"/>
                <a:ext cx="443366" cy="358898"/>
              </a:xfrm>
              <a:custGeom>
                <a:avLst/>
                <a:gdLst>
                  <a:gd name="connsiteX0" fmla="*/ 160654 w 443366"/>
                  <a:gd name="connsiteY0" fmla="*/ 358295 h 358898"/>
                  <a:gd name="connsiteX1" fmla="*/ 64301 w 443366"/>
                  <a:gd name="connsiteY1" fmla="*/ 296389 h 358898"/>
                  <a:gd name="connsiteX2" fmla="*/ 335 w 443366"/>
                  <a:gd name="connsiteY2" fmla="*/ 98221 h 358898"/>
                  <a:gd name="connsiteX3" fmla="*/ 7942 w 443366"/>
                  <a:gd name="connsiteY3" fmla="*/ 54990 h 358898"/>
                  <a:gd name="connsiteX4" fmla="*/ 79746 w 443366"/>
                  <a:gd name="connsiteY4" fmla="*/ 578 h 358898"/>
                  <a:gd name="connsiteX5" fmla="*/ 177251 w 443366"/>
                  <a:gd name="connsiteY5" fmla="*/ 14988 h 358898"/>
                  <a:gd name="connsiteX6" fmla="*/ 404072 w 443366"/>
                  <a:gd name="connsiteY6" fmla="*/ 139376 h 358898"/>
                  <a:gd name="connsiteX7" fmla="*/ 414676 w 443366"/>
                  <a:gd name="connsiteY7" fmla="*/ 148138 h 358898"/>
                  <a:gd name="connsiteX8" fmla="*/ 416519 w 443366"/>
                  <a:gd name="connsiteY8" fmla="*/ 255926 h 358898"/>
                  <a:gd name="connsiteX9" fmla="*/ 160654 w 443366"/>
                  <a:gd name="connsiteY9" fmla="*/ 358295 h 35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3366" h="358898">
                    <a:moveTo>
                      <a:pt x="160654" y="358295"/>
                    </a:moveTo>
                    <a:cubicBezTo>
                      <a:pt x="130227" y="363253"/>
                      <a:pt x="93461" y="337199"/>
                      <a:pt x="64301" y="296389"/>
                    </a:cubicBezTo>
                    <a:cubicBezTo>
                      <a:pt x="22003" y="237135"/>
                      <a:pt x="-3238" y="172231"/>
                      <a:pt x="335" y="98221"/>
                    </a:cubicBezTo>
                    <a:cubicBezTo>
                      <a:pt x="1027" y="83695"/>
                      <a:pt x="3562" y="68824"/>
                      <a:pt x="7942" y="54990"/>
                    </a:cubicBezTo>
                    <a:cubicBezTo>
                      <a:pt x="18776" y="20867"/>
                      <a:pt x="43901" y="2768"/>
                      <a:pt x="79746" y="578"/>
                    </a:cubicBezTo>
                    <a:cubicBezTo>
                      <a:pt x="113285" y="-1497"/>
                      <a:pt x="146247" y="1730"/>
                      <a:pt x="177251" y="14988"/>
                    </a:cubicBezTo>
                    <a:cubicBezTo>
                      <a:pt x="257007" y="48880"/>
                      <a:pt x="333421" y="88768"/>
                      <a:pt x="404072" y="139376"/>
                    </a:cubicBezTo>
                    <a:cubicBezTo>
                      <a:pt x="407760" y="142028"/>
                      <a:pt x="411448" y="145025"/>
                      <a:pt x="414676" y="148138"/>
                    </a:cubicBezTo>
                    <a:cubicBezTo>
                      <a:pt x="451442" y="183414"/>
                      <a:pt x="453746" y="221572"/>
                      <a:pt x="416519" y="255926"/>
                    </a:cubicBezTo>
                    <a:cubicBezTo>
                      <a:pt x="351055" y="316333"/>
                      <a:pt x="274065" y="352301"/>
                      <a:pt x="160654" y="35829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5" name="Freeform 264">
                <a:extLst>
                  <a:ext uri="{FF2B5EF4-FFF2-40B4-BE49-F238E27FC236}">
                    <a16:creationId xmlns:a16="http://schemas.microsoft.com/office/drawing/2014/main" id="{A5672E62-50E8-6620-62DF-2D645DFDE6C5}"/>
                  </a:ext>
                </a:extLst>
              </p:cNvPr>
              <p:cNvSpPr/>
              <p:nvPr/>
            </p:nvSpPr>
            <p:spPr>
              <a:xfrm>
                <a:off x="10384714" y="2291160"/>
                <a:ext cx="354416" cy="469750"/>
              </a:xfrm>
              <a:custGeom>
                <a:avLst/>
                <a:gdLst>
                  <a:gd name="connsiteX0" fmla="*/ 290073 w 354416"/>
                  <a:gd name="connsiteY0" fmla="*/ 469627 h 469750"/>
                  <a:gd name="connsiteX1" fmla="*/ 223917 w 354416"/>
                  <a:gd name="connsiteY1" fmla="*/ 450029 h 469750"/>
                  <a:gd name="connsiteX2" fmla="*/ 41469 w 354416"/>
                  <a:gd name="connsiteY2" fmla="*/ 330483 h 469750"/>
                  <a:gd name="connsiteX3" fmla="*/ 17150 w 354416"/>
                  <a:gd name="connsiteY3" fmla="*/ 216585 h 469750"/>
                  <a:gd name="connsiteX4" fmla="*/ 168826 w 354416"/>
                  <a:gd name="connsiteY4" fmla="*/ 27523 h 469750"/>
                  <a:gd name="connsiteX5" fmla="*/ 197524 w 354416"/>
                  <a:gd name="connsiteY5" fmla="*/ 6542 h 469750"/>
                  <a:gd name="connsiteX6" fmla="*/ 266101 w 354416"/>
                  <a:gd name="connsiteY6" fmla="*/ 23027 h 469750"/>
                  <a:gd name="connsiteX7" fmla="*/ 282351 w 354416"/>
                  <a:gd name="connsiteY7" fmla="*/ 57496 h 469750"/>
                  <a:gd name="connsiteX8" fmla="*/ 351389 w 354416"/>
                  <a:gd name="connsiteY8" fmla="*/ 378324 h 469750"/>
                  <a:gd name="connsiteX9" fmla="*/ 354385 w 354416"/>
                  <a:gd name="connsiteY9" fmla="*/ 405646 h 469750"/>
                  <a:gd name="connsiteX10" fmla="*/ 289843 w 354416"/>
                  <a:gd name="connsiteY10" fmla="*/ 469743 h 469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4416" h="469750">
                    <a:moveTo>
                      <a:pt x="290073" y="469627"/>
                    </a:moveTo>
                    <a:cubicBezTo>
                      <a:pt x="267022" y="470549"/>
                      <a:pt x="244433" y="463402"/>
                      <a:pt x="223917" y="450029"/>
                    </a:cubicBezTo>
                    <a:cubicBezTo>
                      <a:pt x="162948" y="410373"/>
                      <a:pt x="101978" y="370831"/>
                      <a:pt x="41469" y="330483"/>
                    </a:cubicBezTo>
                    <a:cubicBezTo>
                      <a:pt x="-3135" y="300625"/>
                      <a:pt x="-12586" y="260622"/>
                      <a:pt x="17150" y="216585"/>
                    </a:cubicBezTo>
                    <a:cubicBezTo>
                      <a:pt x="62561" y="149491"/>
                      <a:pt x="110852" y="84472"/>
                      <a:pt x="168826" y="27523"/>
                    </a:cubicBezTo>
                    <a:cubicBezTo>
                      <a:pt x="177239" y="19223"/>
                      <a:pt x="187035" y="11845"/>
                      <a:pt x="197524" y="6542"/>
                    </a:cubicBezTo>
                    <a:cubicBezTo>
                      <a:pt x="222995" y="-6254"/>
                      <a:pt x="249504" y="-29"/>
                      <a:pt x="266101" y="23027"/>
                    </a:cubicBezTo>
                    <a:cubicBezTo>
                      <a:pt x="273361" y="33172"/>
                      <a:pt x="279124" y="45392"/>
                      <a:pt x="282351" y="57496"/>
                    </a:cubicBezTo>
                    <a:cubicBezTo>
                      <a:pt x="310589" y="163325"/>
                      <a:pt x="334561" y="270075"/>
                      <a:pt x="351389" y="378324"/>
                    </a:cubicBezTo>
                    <a:cubicBezTo>
                      <a:pt x="352772" y="387432"/>
                      <a:pt x="354155" y="396539"/>
                      <a:pt x="354385" y="405646"/>
                    </a:cubicBezTo>
                    <a:cubicBezTo>
                      <a:pt x="355308" y="450606"/>
                      <a:pt x="336060" y="470204"/>
                      <a:pt x="289843" y="46974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6" name="Freeform 265">
                <a:extLst>
                  <a:ext uri="{FF2B5EF4-FFF2-40B4-BE49-F238E27FC236}">
                    <a16:creationId xmlns:a16="http://schemas.microsoft.com/office/drawing/2014/main" id="{586447BB-5056-1C95-744B-4810AA90BF8B}"/>
                  </a:ext>
                </a:extLst>
              </p:cNvPr>
              <p:cNvSpPr/>
              <p:nvPr/>
            </p:nvSpPr>
            <p:spPr>
              <a:xfrm>
                <a:off x="7402737" y="2130030"/>
                <a:ext cx="377910" cy="369412"/>
              </a:xfrm>
              <a:custGeom>
                <a:avLst/>
                <a:gdLst>
                  <a:gd name="connsiteX0" fmla="*/ 180692 w 377910"/>
                  <a:gd name="connsiteY0" fmla="*/ 515 h 369412"/>
                  <a:gd name="connsiteX1" fmla="*/ 336400 w 377910"/>
                  <a:gd name="connsiteY1" fmla="*/ 40633 h 369412"/>
                  <a:gd name="connsiteX2" fmla="*/ 377892 w 377910"/>
                  <a:gd name="connsiteY2" fmla="*/ 112684 h 369412"/>
                  <a:gd name="connsiteX3" fmla="*/ 341702 w 377910"/>
                  <a:gd name="connsiteY3" fmla="*/ 258860 h 369412"/>
                  <a:gd name="connsiteX4" fmla="*/ 296522 w 377910"/>
                  <a:gd name="connsiteY4" fmla="*/ 331257 h 369412"/>
                  <a:gd name="connsiteX5" fmla="*/ 188068 w 377910"/>
                  <a:gd name="connsiteY5" fmla="*/ 356273 h 369412"/>
                  <a:gd name="connsiteX6" fmla="*/ 82494 w 377910"/>
                  <a:gd name="connsiteY6" fmla="*/ 276729 h 369412"/>
                  <a:gd name="connsiteX7" fmla="*/ 39159 w 377910"/>
                  <a:gd name="connsiteY7" fmla="*/ 238340 h 369412"/>
                  <a:gd name="connsiteX8" fmla="*/ 19681 w 377910"/>
                  <a:gd name="connsiteY8" fmla="*/ 111646 h 369412"/>
                  <a:gd name="connsiteX9" fmla="*/ 85030 w 377910"/>
                  <a:gd name="connsiteY9" fmla="*/ 26223 h 369412"/>
                  <a:gd name="connsiteX10" fmla="*/ 147498 w 377910"/>
                  <a:gd name="connsiteY10" fmla="*/ 630 h 369412"/>
                  <a:gd name="connsiteX11" fmla="*/ 180576 w 377910"/>
                  <a:gd name="connsiteY11" fmla="*/ 400 h 369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7910" h="369412">
                    <a:moveTo>
                      <a:pt x="180692" y="515"/>
                    </a:moveTo>
                    <a:cubicBezTo>
                      <a:pt x="236244" y="-407"/>
                      <a:pt x="287878" y="13311"/>
                      <a:pt x="336400" y="40633"/>
                    </a:cubicBezTo>
                    <a:cubicBezTo>
                      <a:pt x="365329" y="56888"/>
                      <a:pt x="378468" y="80174"/>
                      <a:pt x="377892" y="112684"/>
                    </a:cubicBezTo>
                    <a:cubicBezTo>
                      <a:pt x="377085" y="164214"/>
                      <a:pt x="364638" y="213094"/>
                      <a:pt x="341702" y="258860"/>
                    </a:cubicBezTo>
                    <a:cubicBezTo>
                      <a:pt x="328909" y="284222"/>
                      <a:pt x="313580" y="308547"/>
                      <a:pt x="296522" y="331257"/>
                    </a:cubicBezTo>
                    <a:cubicBezTo>
                      <a:pt x="265403" y="372874"/>
                      <a:pt x="234515" y="379214"/>
                      <a:pt x="188068" y="356273"/>
                    </a:cubicBezTo>
                    <a:cubicBezTo>
                      <a:pt x="147844" y="336445"/>
                      <a:pt x="115918" y="305665"/>
                      <a:pt x="82494" y="276729"/>
                    </a:cubicBezTo>
                    <a:cubicBezTo>
                      <a:pt x="67857" y="264048"/>
                      <a:pt x="53912" y="250675"/>
                      <a:pt x="39159" y="238340"/>
                    </a:cubicBezTo>
                    <a:cubicBezTo>
                      <a:pt x="-4868" y="201681"/>
                      <a:pt x="-12360" y="159257"/>
                      <a:pt x="19681" y="111646"/>
                    </a:cubicBezTo>
                    <a:cubicBezTo>
                      <a:pt x="39735" y="82019"/>
                      <a:pt x="62095" y="53775"/>
                      <a:pt x="85030" y="26223"/>
                    </a:cubicBezTo>
                    <a:cubicBezTo>
                      <a:pt x="100705" y="7432"/>
                      <a:pt x="124332" y="3282"/>
                      <a:pt x="147498" y="630"/>
                    </a:cubicBezTo>
                    <a:cubicBezTo>
                      <a:pt x="158447" y="-638"/>
                      <a:pt x="169627" y="400"/>
                      <a:pt x="180576" y="40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7" name="Freeform 266">
                <a:extLst>
                  <a:ext uri="{FF2B5EF4-FFF2-40B4-BE49-F238E27FC236}">
                    <a16:creationId xmlns:a16="http://schemas.microsoft.com/office/drawing/2014/main" id="{9B5F52FB-1D51-AACE-05B3-537273693F40}"/>
                  </a:ext>
                </a:extLst>
              </p:cNvPr>
              <p:cNvSpPr/>
              <p:nvPr/>
            </p:nvSpPr>
            <p:spPr>
              <a:xfrm>
                <a:off x="5961049" y="4561524"/>
                <a:ext cx="371819" cy="365670"/>
              </a:xfrm>
              <a:custGeom>
                <a:avLst/>
                <a:gdLst>
                  <a:gd name="connsiteX0" fmla="*/ 127873 w 371819"/>
                  <a:gd name="connsiteY0" fmla="*/ 365630 h 365670"/>
                  <a:gd name="connsiteX1" fmla="*/ 67594 w 371819"/>
                  <a:gd name="connsiteY1" fmla="*/ 341306 h 365670"/>
                  <a:gd name="connsiteX2" fmla="*/ 6048 w 371819"/>
                  <a:gd name="connsiteY2" fmla="*/ 227984 h 365670"/>
                  <a:gd name="connsiteX3" fmla="*/ 24374 w 371819"/>
                  <a:gd name="connsiteY3" fmla="*/ 126076 h 365670"/>
                  <a:gd name="connsiteX4" fmla="*/ 105283 w 371819"/>
                  <a:gd name="connsiteY4" fmla="*/ 32121 h 365670"/>
                  <a:gd name="connsiteX5" fmla="*/ 132022 w 371819"/>
                  <a:gd name="connsiteY5" fmla="*/ 12754 h 365670"/>
                  <a:gd name="connsiteX6" fmla="*/ 222497 w 371819"/>
                  <a:gd name="connsiteY6" fmla="*/ 16789 h 365670"/>
                  <a:gd name="connsiteX7" fmla="*/ 328761 w 371819"/>
                  <a:gd name="connsiteY7" fmla="*/ 135298 h 365670"/>
                  <a:gd name="connsiteX8" fmla="*/ 362762 w 371819"/>
                  <a:gd name="connsiteY8" fmla="*/ 195245 h 365670"/>
                  <a:gd name="connsiteX9" fmla="*/ 349738 w 371819"/>
                  <a:gd name="connsiteY9" fmla="*/ 272829 h 365670"/>
                  <a:gd name="connsiteX10" fmla="*/ 284965 w 371819"/>
                  <a:gd name="connsiteY10" fmla="*/ 318711 h 365670"/>
                  <a:gd name="connsiteX11" fmla="*/ 140666 w 371819"/>
                  <a:gd name="connsiteY11" fmla="*/ 364478 h 365670"/>
                  <a:gd name="connsiteX12" fmla="*/ 127988 w 371819"/>
                  <a:gd name="connsiteY12" fmla="*/ 365515 h 36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1819" h="365670">
                    <a:moveTo>
                      <a:pt x="127873" y="365630"/>
                    </a:moveTo>
                    <a:cubicBezTo>
                      <a:pt x="101364" y="366322"/>
                      <a:pt x="82116" y="358137"/>
                      <a:pt x="67594" y="341306"/>
                    </a:cubicBezTo>
                    <a:cubicBezTo>
                      <a:pt x="38896" y="308105"/>
                      <a:pt x="20340" y="269025"/>
                      <a:pt x="6048" y="227984"/>
                    </a:cubicBezTo>
                    <a:cubicBezTo>
                      <a:pt x="-6975" y="191094"/>
                      <a:pt x="1899" y="155934"/>
                      <a:pt x="24374" y="126076"/>
                    </a:cubicBezTo>
                    <a:cubicBezTo>
                      <a:pt x="49154" y="93105"/>
                      <a:pt x="77506" y="62786"/>
                      <a:pt x="105283" y="32121"/>
                    </a:cubicBezTo>
                    <a:cubicBezTo>
                      <a:pt x="112544" y="24167"/>
                      <a:pt x="122571" y="18403"/>
                      <a:pt x="132022" y="12754"/>
                    </a:cubicBezTo>
                    <a:cubicBezTo>
                      <a:pt x="162910" y="-5576"/>
                      <a:pt x="192876" y="-4077"/>
                      <a:pt x="222497" y="16789"/>
                    </a:cubicBezTo>
                    <a:cubicBezTo>
                      <a:pt x="267100" y="48146"/>
                      <a:pt x="299371" y="90454"/>
                      <a:pt x="328761" y="135298"/>
                    </a:cubicBezTo>
                    <a:cubicBezTo>
                      <a:pt x="341324" y="154550"/>
                      <a:pt x="352504" y="174725"/>
                      <a:pt x="362762" y="195245"/>
                    </a:cubicBezTo>
                    <a:cubicBezTo>
                      <a:pt x="377744" y="225333"/>
                      <a:pt x="374633" y="250349"/>
                      <a:pt x="349738" y="272829"/>
                    </a:cubicBezTo>
                    <a:cubicBezTo>
                      <a:pt x="330144" y="290467"/>
                      <a:pt x="308246" y="306721"/>
                      <a:pt x="284965" y="318711"/>
                    </a:cubicBezTo>
                    <a:cubicBezTo>
                      <a:pt x="239670" y="341882"/>
                      <a:pt x="190571" y="355024"/>
                      <a:pt x="140666" y="364478"/>
                    </a:cubicBezTo>
                    <a:cubicBezTo>
                      <a:pt x="135249" y="365515"/>
                      <a:pt x="129717" y="365400"/>
                      <a:pt x="127988" y="36551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8" name="Freeform 267">
                <a:extLst>
                  <a:ext uri="{FF2B5EF4-FFF2-40B4-BE49-F238E27FC236}">
                    <a16:creationId xmlns:a16="http://schemas.microsoft.com/office/drawing/2014/main" id="{06178B56-91DD-D447-FE7E-DB29D56DCEE7}"/>
                  </a:ext>
                </a:extLst>
              </p:cNvPr>
              <p:cNvSpPr/>
              <p:nvPr/>
            </p:nvSpPr>
            <p:spPr>
              <a:xfrm>
                <a:off x="7392647" y="4578562"/>
                <a:ext cx="323324" cy="399176"/>
              </a:xfrm>
              <a:custGeom>
                <a:avLst/>
                <a:gdLst>
                  <a:gd name="connsiteX0" fmla="*/ 321596 w 323324"/>
                  <a:gd name="connsiteY0" fmla="*/ 326688 h 399176"/>
                  <a:gd name="connsiteX1" fmla="*/ 321596 w 323324"/>
                  <a:gd name="connsiteY1" fmla="*/ 343289 h 399176"/>
                  <a:gd name="connsiteX2" fmla="*/ 270768 w 323324"/>
                  <a:gd name="connsiteY2" fmla="*/ 397817 h 399176"/>
                  <a:gd name="connsiteX3" fmla="*/ 223975 w 323324"/>
                  <a:gd name="connsiteY3" fmla="*/ 397586 h 399176"/>
                  <a:gd name="connsiteX4" fmla="*/ 56510 w 323324"/>
                  <a:gd name="connsiteY4" fmla="*/ 330377 h 399176"/>
                  <a:gd name="connsiteX5" fmla="*/ 1534 w 323324"/>
                  <a:gd name="connsiteY5" fmla="*/ 206565 h 399176"/>
                  <a:gd name="connsiteX6" fmla="*/ 85209 w 323324"/>
                  <a:gd name="connsiteY6" fmla="*/ 30415 h 399176"/>
                  <a:gd name="connsiteX7" fmla="*/ 140531 w 323324"/>
                  <a:gd name="connsiteY7" fmla="*/ 1249 h 399176"/>
                  <a:gd name="connsiteX8" fmla="*/ 224897 w 323324"/>
                  <a:gd name="connsiteY8" fmla="*/ 36871 h 399176"/>
                  <a:gd name="connsiteX9" fmla="*/ 260395 w 323324"/>
                  <a:gd name="connsiteY9" fmla="*/ 98777 h 399176"/>
                  <a:gd name="connsiteX10" fmla="*/ 316755 w 323324"/>
                  <a:gd name="connsiteY10" fmla="*/ 280345 h 399176"/>
                  <a:gd name="connsiteX11" fmla="*/ 323325 w 323324"/>
                  <a:gd name="connsiteY11" fmla="*/ 326573 h 399176"/>
                  <a:gd name="connsiteX12" fmla="*/ 321826 w 323324"/>
                  <a:gd name="connsiteY12" fmla="*/ 326803 h 399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3324" h="399176">
                    <a:moveTo>
                      <a:pt x="321596" y="326688"/>
                    </a:moveTo>
                    <a:cubicBezTo>
                      <a:pt x="321596" y="332222"/>
                      <a:pt x="321826" y="337755"/>
                      <a:pt x="321596" y="343289"/>
                    </a:cubicBezTo>
                    <a:cubicBezTo>
                      <a:pt x="319867" y="375798"/>
                      <a:pt x="303040" y="394589"/>
                      <a:pt x="270768" y="397817"/>
                    </a:cubicBezTo>
                    <a:cubicBezTo>
                      <a:pt x="255324" y="399315"/>
                      <a:pt x="239189" y="400007"/>
                      <a:pt x="223975" y="397586"/>
                    </a:cubicBezTo>
                    <a:cubicBezTo>
                      <a:pt x="163236" y="387787"/>
                      <a:pt x="107222" y="366114"/>
                      <a:pt x="56510" y="330377"/>
                    </a:cubicBezTo>
                    <a:cubicBezTo>
                      <a:pt x="12829" y="299597"/>
                      <a:pt x="-5728" y="258326"/>
                      <a:pt x="1534" y="206565"/>
                    </a:cubicBezTo>
                    <a:cubicBezTo>
                      <a:pt x="10985" y="139471"/>
                      <a:pt x="36110" y="78949"/>
                      <a:pt x="85209" y="30415"/>
                    </a:cubicBezTo>
                    <a:cubicBezTo>
                      <a:pt x="100537" y="15198"/>
                      <a:pt x="118978" y="4707"/>
                      <a:pt x="140531" y="1249"/>
                    </a:cubicBezTo>
                    <a:cubicBezTo>
                      <a:pt x="175799" y="-4285"/>
                      <a:pt x="204497" y="8742"/>
                      <a:pt x="224897" y="36871"/>
                    </a:cubicBezTo>
                    <a:cubicBezTo>
                      <a:pt x="238843" y="56123"/>
                      <a:pt x="252673" y="76643"/>
                      <a:pt x="260395" y="98777"/>
                    </a:cubicBezTo>
                    <a:cubicBezTo>
                      <a:pt x="281141" y="158723"/>
                      <a:pt x="298890" y="219592"/>
                      <a:pt x="316755" y="280345"/>
                    </a:cubicBezTo>
                    <a:cubicBezTo>
                      <a:pt x="321135" y="295101"/>
                      <a:pt x="321250" y="311125"/>
                      <a:pt x="323325" y="326573"/>
                    </a:cubicBezTo>
                    <a:cubicBezTo>
                      <a:pt x="322864" y="326573"/>
                      <a:pt x="322287" y="326688"/>
                      <a:pt x="321826" y="32680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9" name="Freeform 268">
                <a:extLst>
                  <a:ext uri="{FF2B5EF4-FFF2-40B4-BE49-F238E27FC236}">
                    <a16:creationId xmlns:a16="http://schemas.microsoft.com/office/drawing/2014/main" id="{B06C6C46-05B4-DACD-3AA7-6C56EE6E94F0}"/>
                  </a:ext>
                </a:extLst>
              </p:cNvPr>
              <p:cNvSpPr/>
              <p:nvPr/>
            </p:nvSpPr>
            <p:spPr>
              <a:xfrm>
                <a:off x="8193664" y="1975526"/>
                <a:ext cx="305938" cy="305345"/>
              </a:xfrm>
              <a:custGeom>
                <a:avLst/>
                <a:gdLst>
                  <a:gd name="connsiteX0" fmla="*/ 153441 w 305938"/>
                  <a:gd name="connsiteY0" fmla="*/ 305230 h 305345"/>
                  <a:gd name="connsiteX1" fmla="*/ 115177 w 305938"/>
                  <a:gd name="connsiteY1" fmla="*/ 300734 h 305345"/>
                  <a:gd name="connsiteX2" fmla="*/ 7990 w 305938"/>
                  <a:gd name="connsiteY2" fmla="*/ 204474 h 305345"/>
                  <a:gd name="connsiteX3" fmla="*/ 11447 w 305938"/>
                  <a:gd name="connsiteY3" fmla="*/ 105332 h 305345"/>
                  <a:gd name="connsiteX4" fmla="*/ 71034 w 305938"/>
                  <a:gd name="connsiteY4" fmla="*/ 24404 h 305345"/>
                  <a:gd name="connsiteX5" fmla="*/ 255902 w 305938"/>
                  <a:gd name="connsiteY5" fmla="*/ 38123 h 305345"/>
                  <a:gd name="connsiteX6" fmla="*/ 303733 w 305938"/>
                  <a:gd name="connsiteY6" fmla="*/ 184184 h 305345"/>
                  <a:gd name="connsiteX7" fmla="*/ 153326 w 305938"/>
                  <a:gd name="connsiteY7" fmla="*/ 305345 h 305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5938" h="305345">
                    <a:moveTo>
                      <a:pt x="153441" y="305230"/>
                    </a:moveTo>
                    <a:cubicBezTo>
                      <a:pt x="140648" y="303731"/>
                      <a:pt x="127855" y="302924"/>
                      <a:pt x="115177" y="300734"/>
                    </a:cubicBezTo>
                    <a:cubicBezTo>
                      <a:pt x="59278" y="291165"/>
                      <a:pt x="27468" y="255313"/>
                      <a:pt x="7990" y="204474"/>
                    </a:cubicBezTo>
                    <a:cubicBezTo>
                      <a:pt x="-5034" y="170351"/>
                      <a:pt x="-885" y="138187"/>
                      <a:pt x="11447" y="105332"/>
                    </a:cubicBezTo>
                    <a:cubicBezTo>
                      <a:pt x="23665" y="72592"/>
                      <a:pt x="42221" y="44348"/>
                      <a:pt x="71034" y="24404"/>
                    </a:cubicBezTo>
                    <a:cubicBezTo>
                      <a:pt x="124166" y="-12370"/>
                      <a:pt x="205536" y="-7413"/>
                      <a:pt x="255902" y="38123"/>
                    </a:cubicBezTo>
                    <a:cubicBezTo>
                      <a:pt x="298662" y="76857"/>
                      <a:pt x="311686" y="128273"/>
                      <a:pt x="303733" y="184184"/>
                    </a:cubicBezTo>
                    <a:cubicBezTo>
                      <a:pt x="292669" y="260962"/>
                      <a:pt x="237577" y="304077"/>
                      <a:pt x="153326" y="30534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0" name="Freeform 269">
                <a:extLst>
                  <a:ext uri="{FF2B5EF4-FFF2-40B4-BE49-F238E27FC236}">
                    <a16:creationId xmlns:a16="http://schemas.microsoft.com/office/drawing/2014/main" id="{3A933FEF-270C-D714-370F-193CF008966D}"/>
                  </a:ext>
                </a:extLst>
              </p:cNvPr>
              <p:cNvSpPr/>
              <p:nvPr/>
            </p:nvSpPr>
            <p:spPr>
              <a:xfrm>
                <a:off x="6621167" y="2899010"/>
                <a:ext cx="264358" cy="359766"/>
              </a:xfrm>
              <a:custGeom>
                <a:avLst/>
                <a:gdLst>
                  <a:gd name="connsiteX0" fmla="*/ 0 w 264358"/>
                  <a:gd name="connsiteY0" fmla="*/ 97067 h 359766"/>
                  <a:gd name="connsiteX1" fmla="*/ 9681 w 264358"/>
                  <a:gd name="connsiteY1" fmla="*/ 33893 h 359766"/>
                  <a:gd name="connsiteX2" fmla="*/ 57051 w 264358"/>
                  <a:gd name="connsiteY2" fmla="*/ 0 h 359766"/>
                  <a:gd name="connsiteX3" fmla="*/ 81485 w 264358"/>
                  <a:gd name="connsiteY3" fmla="*/ 3113 h 359766"/>
                  <a:gd name="connsiteX4" fmla="*/ 227282 w 264358"/>
                  <a:gd name="connsiteY4" fmla="*/ 88651 h 359766"/>
                  <a:gd name="connsiteX5" fmla="*/ 251140 w 264358"/>
                  <a:gd name="connsiteY5" fmla="*/ 227911 h 359766"/>
                  <a:gd name="connsiteX6" fmla="*/ 157784 w 264358"/>
                  <a:gd name="connsiteY6" fmla="*/ 344576 h 359766"/>
                  <a:gd name="connsiteX7" fmla="*/ 100272 w 264358"/>
                  <a:gd name="connsiteY7" fmla="*/ 359562 h 359766"/>
                  <a:gd name="connsiteX8" fmla="*/ 49675 w 264358"/>
                  <a:gd name="connsiteY8" fmla="*/ 331203 h 359766"/>
                  <a:gd name="connsiteX9" fmla="*/ 21668 w 264358"/>
                  <a:gd name="connsiteY9" fmla="*/ 263187 h 359766"/>
                  <a:gd name="connsiteX10" fmla="*/ 0 w 264358"/>
                  <a:gd name="connsiteY10" fmla="*/ 97182 h 359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4358" h="359766">
                    <a:moveTo>
                      <a:pt x="0" y="97067"/>
                    </a:moveTo>
                    <a:cubicBezTo>
                      <a:pt x="3458" y="73434"/>
                      <a:pt x="4380" y="53029"/>
                      <a:pt x="9681" y="33893"/>
                    </a:cubicBezTo>
                    <a:cubicBezTo>
                      <a:pt x="16481" y="9799"/>
                      <a:pt x="32041" y="0"/>
                      <a:pt x="57051" y="0"/>
                    </a:cubicBezTo>
                    <a:cubicBezTo>
                      <a:pt x="65234" y="0"/>
                      <a:pt x="73648" y="807"/>
                      <a:pt x="81485" y="3113"/>
                    </a:cubicBezTo>
                    <a:cubicBezTo>
                      <a:pt x="137268" y="19367"/>
                      <a:pt x="186252" y="47381"/>
                      <a:pt x="227282" y="88651"/>
                    </a:cubicBezTo>
                    <a:cubicBezTo>
                      <a:pt x="267621" y="129230"/>
                      <a:pt x="274191" y="174766"/>
                      <a:pt x="251140" y="227911"/>
                    </a:cubicBezTo>
                    <a:cubicBezTo>
                      <a:pt x="230625" y="275177"/>
                      <a:pt x="201581" y="315756"/>
                      <a:pt x="157784" y="344576"/>
                    </a:cubicBezTo>
                    <a:cubicBezTo>
                      <a:pt x="140150" y="356219"/>
                      <a:pt x="121133" y="360831"/>
                      <a:pt x="100272" y="359562"/>
                    </a:cubicBezTo>
                    <a:cubicBezTo>
                      <a:pt x="78604" y="358179"/>
                      <a:pt x="59702" y="350455"/>
                      <a:pt x="49675" y="331203"/>
                    </a:cubicBezTo>
                    <a:cubicBezTo>
                      <a:pt x="38265" y="309530"/>
                      <a:pt x="25817" y="286820"/>
                      <a:pt x="21668" y="263187"/>
                    </a:cubicBezTo>
                    <a:cubicBezTo>
                      <a:pt x="11871" y="207276"/>
                      <a:pt x="6685" y="150558"/>
                      <a:pt x="0" y="9718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1" name="Freeform 270">
                <a:extLst>
                  <a:ext uri="{FF2B5EF4-FFF2-40B4-BE49-F238E27FC236}">
                    <a16:creationId xmlns:a16="http://schemas.microsoft.com/office/drawing/2014/main" id="{626B894D-7F48-211D-AFE8-AB439579A2C2}"/>
                  </a:ext>
                </a:extLst>
              </p:cNvPr>
              <p:cNvSpPr/>
              <p:nvPr/>
            </p:nvSpPr>
            <p:spPr>
              <a:xfrm>
                <a:off x="8559810" y="4512272"/>
                <a:ext cx="275283" cy="270203"/>
              </a:xfrm>
              <a:custGeom>
                <a:avLst/>
                <a:gdLst>
                  <a:gd name="connsiteX0" fmla="*/ 275283 w 275283"/>
                  <a:gd name="connsiteY0" fmla="*/ 128408 h 270203"/>
                  <a:gd name="connsiteX1" fmla="*/ 124530 w 275283"/>
                  <a:gd name="connsiteY1" fmla="*/ 270204 h 270203"/>
                  <a:gd name="connsiteX2" fmla="*/ 27486 w 275283"/>
                  <a:gd name="connsiteY2" fmla="*/ 206914 h 270203"/>
                  <a:gd name="connsiteX3" fmla="*/ 977 w 275283"/>
                  <a:gd name="connsiteY3" fmla="*/ 82065 h 270203"/>
                  <a:gd name="connsiteX4" fmla="*/ 46388 w 275283"/>
                  <a:gd name="connsiteY4" fmla="*/ 19006 h 270203"/>
                  <a:gd name="connsiteX5" fmla="*/ 206015 w 275283"/>
                  <a:gd name="connsiteY5" fmla="*/ 6325 h 270203"/>
                  <a:gd name="connsiteX6" fmla="*/ 257995 w 275283"/>
                  <a:gd name="connsiteY6" fmla="*/ 53821 h 270203"/>
                  <a:gd name="connsiteX7" fmla="*/ 275168 w 275283"/>
                  <a:gd name="connsiteY7" fmla="*/ 128408 h 270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5283" h="270203">
                    <a:moveTo>
                      <a:pt x="275283" y="128408"/>
                    </a:moveTo>
                    <a:cubicBezTo>
                      <a:pt x="274131" y="225590"/>
                      <a:pt x="194144" y="270204"/>
                      <a:pt x="124530" y="270204"/>
                    </a:cubicBezTo>
                    <a:cubicBezTo>
                      <a:pt x="80388" y="270204"/>
                      <a:pt x="48347" y="243920"/>
                      <a:pt x="27486" y="206914"/>
                    </a:cubicBezTo>
                    <a:cubicBezTo>
                      <a:pt x="5933" y="168641"/>
                      <a:pt x="-3172" y="126448"/>
                      <a:pt x="977" y="82065"/>
                    </a:cubicBezTo>
                    <a:cubicBezTo>
                      <a:pt x="3743" y="52322"/>
                      <a:pt x="16882" y="29957"/>
                      <a:pt x="46388" y="19006"/>
                    </a:cubicBezTo>
                    <a:cubicBezTo>
                      <a:pt x="98483" y="-362"/>
                      <a:pt x="151615" y="-5549"/>
                      <a:pt x="206015" y="6325"/>
                    </a:cubicBezTo>
                    <a:cubicBezTo>
                      <a:pt x="232409" y="12089"/>
                      <a:pt x="250965" y="27421"/>
                      <a:pt x="257995" y="53821"/>
                    </a:cubicBezTo>
                    <a:cubicBezTo>
                      <a:pt x="264564" y="78491"/>
                      <a:pt x="269520" y="103507"/>
                      <a:pt x="275168" y="12840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2" name="Freeform 271">
                <a:extLst>
                  <a:ext uri="{FF2B5EF4-FFF2-40B4-BE49-F238E27FC236}">
                    <a16:creationId xmlns:a16="http://schemas.microsoft.com/office/drawing/2014/main" id="{08834CDB-1EAF-7AC2-0537-FBB4B0A83806}"/>
                  </a:ext>
                </a:extLst>
              </p:cNvPr>
              <p:cNvSpPr/>
              <p:nvPr/>
            </p:nvSpPr>
            <p:spPr>
              <a:xfrm>
                <a:off x="6566516" y="3584093"/>
                <a:ext cx="269090" cy="269825"/>
              </a:xfrm>
              <a:custGeom>
                <a:avLst/>
                <a:gdLst>
                  <a:gd name="connsiteX0" fmla="*/ 268564 w 269090"/>
                  <a:gd name="connsiteY0" fmla="*/ 127535 h 269825"/>
                  <a:gd name="connsiteX1" fmla="*/ 137635 w 269090"/>
                  <a:gd name="connsiteY1" fmla="*/ 269330 h 269825"/>
                  <a:gd name="connsiteX2" fmla="*/ 36902 w 269090"/>
                  <a:gd name="connsiteY2" fmla="*/ 222411 h 269825"/>
                  <a:gd name="connsiteX3" fmla="*/ 2556 w 269090"/>
                  <a:gd name="connsiteY3" fmla="*/ 70124 h 269825"/>
                  <a:gd name="connsiteX4" fmla="*/ 41512 w 269090"/>
                  <a:gd name="connsiteY4" fmla="*/ 20438 h 269825"/>
                  <a:gd name="connsiteX5" fmla="*/ 214970 w 269090"/>
                  <a:gd name="connsiteY5" fmla="*/ 9256 h 269825"/>
                  <a:gd name="connsiteX6" fmla="*/ 251967 w 269090"/>
                  <a:gd name="connsiteY6" fmla="*/ 43610 h 269825"/>
                  <a:gd name="connsiteX7" fmla="*/ 268564 w 269090"/>
                  <a:gd name="connsiteY7" fmla="*/ 127535 h 269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9090" h="269825">
                    <a:moveTo>
                      <a:pt x="268564" y="127535"/>
                    </a:moveTo>
                    <a:cubicBezTo>
                      <a:pt x="274327" y="218491"/>
                      <a:pt x="200448" y="263797"/>
                      <a:pt x="137635" y="269330"/>
                    </a:cubicBezTo>
                    <a:cubicBezTo>
                      <a:pt x="97180" y="272904"/>
                      <a:pt x="61105" y="257111"/>
                      <a:pt x="36902" y="222411"/>
                    </a:cubicBezTo>
                    <a:cubicBezTo>
                      <a:pt x="4977" y="176529"/>
                      <a:pt x="-5396" y="125344"/>
                      <a:pt x="2556" y="70124"/>
                    </a:cubicBezTo>
                    <a:cubicBezTo>
                      <a:pt x="6014" y="45915"/>
                      <a:pt x="19614" y="28623"/>
                      <a:pt x="41512" y="20438"/>
                    </a:cubicBezTo>
                    <a:cubicBezTo>
                      <a:pt x="97987" y="-774"/>
                      <a:pt x="155960" y="-7114"/>
                      <a:pt x="214970" y="9256"/>
                    </a:cubicBezTo>
                    <a:cubicBezTo>
                      <a:pt x="232950" y="14213"/>
                      <a:pt x="245974" y="25741"/>
                      <a:pt x="251967" y="43610"/>
                    </a:cubicBezTo>
                    <a:cubicBezTo>
                      <a:pt x="261188" y="71508"/>
                      <a:pt x="271561" y="99406"/>
                      <a:pt x="268564" y="12753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3" name="Freeform 272">
                <a:extLst>
                  <a:ext uri="{FF2B5EF4-FFF2-40B4-BE49-F238E27FC236}">
                    <a16:creationId xmlns:a16="http://schemas.microsoft.com/office/drawing/2014/main" id="{5FEAFE39-4339-EDEB-4071-86ABDF2CF8A9}"/>
                  </a:ext>
                </a:extLst>
              </p:cNvPr>
              <p:cNvSpPr/>
              <p:nvPr/>
            </p:nvSpPr>
            <p:spPr>
              <a:xfrm>
                <a:off x="9158177" y="504529"/>
                <a:ext cx="320615" cy="236068"/>
              </a:xfrm>
              <a:custGeom>
                <a:avLst/>
                <a:gdLst>
                  <a:gd name="connsiteX0" fmla="*/ 124911 w 320615"/>
                  <a:gd name="connsiteY0" fmla="*/ 236069 h 236068"/>
                  <a:gd name="connsiteX1" fmla="*/ 80538 w 320615"/>
                  <a:gd name="connsiteY1" fmla="*/ 209439 h 236068"/>
                  <a:gd name="connsiteX2" fmla="*/ 5623 w 320615"/>
                  <a:gd name="connsiteY2" fmla="*/ 64991 h 236068"/>
                  <a:gd name="connsiteX3" fmla="*/ 91 w 320615"/>
                  <a:gd name="connsiteY3" fmla="*/ 41013 h 236068"/>
                  <a:gd name="connsiteX4" fmla="*/ 33169 w 320615"/>
                  <a:gd name="connsiteY4" fmla="*/ 1125 h 236068"/>
                  <a:gd name="connsiteX5" fmla="*/ 66131 w 320615"/>
                  <a:gd name="connsiteY5" fmla="*/ 1471 h 236068"/>
                  <a:gd name="connsiteX6" fmla="*/ 268749 w 320615"/>
                  <a:gd name="connsiteY6" fmla="*/ 43549 h 236068"/>
                  <a:gd name="connsiteX7" fmla="*/ 292376 w 320615"/>
                  <a:gd name="connsiteY7" fmla="*/ 51273 h 236068"/>
                  <a:gd name="connsiteX8" fmla="*/ 311739 w 320615"/>
                  <a:gd name="connsiteY8" fmla="*/ 113986 h 236068"/>
                  <a:gd name="connsiteX9" fmla="*/ 281196 w 320615"/>
                  <a:gd name="connsiteY9" fmla="*/ 145342 h 236068"/>
                  <a:gd name="connsiteX10" fmla="*/ 163060 w 320615"/>
                  <a:gd name="connsiteY10" fmla="*/ 221889 h 236068"/>
                  <a:gd name="connsiteX11" fmla="*/ 124911 w 320615"/>
                  <a:gd name="connsiteY11" fmla="*/ 235953 h 23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615" h="236068">
                    <a:moveTo>
                      <a:pt x="124911" y="236069"/>
                    </a:moveTo>
                    <a:cubicBezTo>
                      <a:pt x="104050" y="235262"/>
                      <a:pt x="89298" y="225693"/>
                      <a:pt x="80538" y="209439"/>
                    </a:cubicBezTo>
                    <a:cubicBezTo>
                      <a:pt x="54837" y="161712"/>
                      <a:pt x="30057" y="113409"/>
                      <a:pt x="5623" y="64991"/>
                    </a:cubicBezTo>
                    <a:cubicBezTo>
                      <a:pt x="2050" y="57844"/>
                      <a:pt x="551" y="49082"/>
                      <a:pt x="91" y="41013"/>
                    </a:cubicBezTo>
                    <a:cubicBezTo>
                      <a:pt x="-1178" y="18648"/>
                      <a:pt x="10924" y="3777"/>
                      <a:pt x="33169" y="1125"/>
                    </a:cubicBezTo>
                    <a:cubicBezTo>
                      <a:pt x="44003" y="-143"/>
                      <a:pt x="55528" y="-719"/>
                      <a:pt x="66131" y="1471"/>
                    </a:cubicBezTo>
                    <a:cubicBezTo>
                      <a:pt x="133786" y="14959"/>
                      <a:pt x="201209" y="29254"/>
                      <a:pt x="268749" y="43549"/>
                    </a:cubicBezTo>
                    <a:cubicBezTo>
                      <a:pt x="276816" y="45278"/>
                      <a:pt x="284654" y="48160"/>
                      <a:pt x="292376" y="51273"/>
                    </a:cubicBezTo>
                    <a:cubicBezTo>
                      <a:pt x="320268" y="62801"/>
                      <a:pt x="329027" y="88739"/>
                      <a:pt x="311739" y="113986"/>
                    </a:cubicBezTo>
                    <a:cubicBezTo>
                      <a:pt x="303556" y="125975"/>
                      <a:pt x="293068" y="137273"/>
                      <a:pt x="281196" y="145342"/>
                    </a:cubicBezTo>
                    <a:cubicBezTo>
                      <a:pt x="242471" y="171857"/>
                      <a:pt x="203054" y="197334"/>
                      <a:pt x="163060" y="221889"/>
                    </a:cubicBezTo>
                    <a:cubicBezTo>
                      <a:pt x="151765" y="228806"/>
                      <a:pt x="137704" y="231342"/>
                      <a:pt x="124911" y="23595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4" name="Freeform 273">
                <a:extLst>
                  <a:ext uri="{FF2B5EF4-FFF2-40B4-BE49-F238E27FC236}">
                    <a16:creationId xmlns:a16="http://schemas.microsoft.com/office/drawing/2014/main" id="{76894878-9B73-2DEC-4410-064CC8E5B94A}"/>
                  </a:ext>
                </a:extLst>
              </p:cNvPr>
              <p:cNvSpPr/>
              <p:nvPr/>
            </p:nvSpPr>
            <p:spPr>
              <a:xfrm>
                <a:off x="6222011" y="5896587"/>
                <a:ext cx="244125" cy="246669"/>
              </a:xfrm>
              <a:custGeom>
                <a:avLst/>
                <a:gdLst>
                  <a:gd name="connsiteX0" fmla="*/ 124735 w 244125"/>
                  <a:gd name="connsiteY0" fmla="*/ 246670 h 246669"/>
                  <a:gd name="connsiteX1" fmla="*/ 57772 w 244125"/>
                  <a:gd name="connsiteY1" fmla="*/ 224651 h 246669"/>
                  <a:gd name="connsiteX2" fmla="*/ 7867 w 244125"/>
                  <a:gd name="connsiteY2" fmla="*/ 159748 h 246669"/>
                  <a:gd name="connsiteX3" fmla="*/ 4409 w 244125"/>
                  <a:gd name="connsiteY3" fmla="*/ 92308 h 246669"/>
                  <a:gd name="connsiteX4" fmla="*/ 118627 w 244125"/>
                  <a:gd name="connsiteY4" fmla="*/ 83 h 246669"/>
                  <a:gd name="connsiteX5" fmla="*/ 191813 w 244125"/>
                  <a:gd name="connsiteY5" fmla="*/ 28558 h 246669"/>
                  <a:gd name="connsiteX6" fmla="*/ 207834 w 244125"/>
                  <a:gd name="connsiteY6" fmla="*/ 43775 h 246669"/>
                  <a:gd name="connsiteX7" fmla="*/ 179135 w 244125"/>
                  <a:gd name="connsiteY7" fmla="*/ 225573 h 246669"/>
                  <a:gd name="connsiteX8" fmla="*/ 124851 w 244125"/>
                  <a:gd name="connsiteY8" fmla="*/ 246670 h 24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4125" h="246669">
                    <a:moveTo>
                      <a:pt x="124735" y="246670"/>
                    </a:moveTo>
                    <a:cubicBezTo>
                      <a:pt x="94654" y="245055"/>
                      <a:pt x="74715" y="238023"/>
                      <a:pt x="57772" y="224651"/>
                    </a:cubicBezTo>
                    <a:cubicBezTo>
                      <a:pt x="35759" y="207359"/>
                      <a:pt x="18586" y="186032"/>
                      <a:pt x="7867" y="159748"/>
                    </a:cubicBezTo>
                    <a:cubicBezTo>
                      <a:pt x="-1238" y="137499"/>
                      <a:pt x="-2506" y="115479"/>
                      <a:pt x="4409" y="92308"/>
                    </a:cubicBezTo>
                    <a:cubicBezTo>
                      <a:pt x="18009" y="46771"/>
                      <a:pt x="71372" y="2273"/>
                      <a:pt x="118627" y="83"/>
                    </a:cubicBezTo>
                    <a:cubicBezTo>
                      <a:pt x="146518" y="-1185"/>
                      <a:pt x="170146" y="12302"/>
                      <a:pt x="191813" y="28558"/>
                    </a:cubicBezTo>
                    <a:cubicBezTo>
                      <a:pt x="197692" y="32938"/>
                      <a:pt x="202647" y="38472"/>
                      <a:pt x="207834" y="43775"/>
                    </a:cubicBezTo>
                    <a:cubicBezTo>
                      <a:pt x="265922" y="102107"/>
                      <a:pt x="252783" y="187530"/>
                      <a:pt x="179135" y="225573"/>
                    </a:cubicBezTo>
                    <a:cubicBezTo>
                      <a:pt x="159773" y="235488"/>
                      <a:pt x="138451" y="241482"/>
                      <a:pt x="124851" y="24667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5" name="Freeform 274">
                <a:extLst>
                  <a:ext uri="{FF2B5EF4-FFF2-40B4-BE49-F238E27FC236}">
                    <a16:creationId xmlns:a16="http://schemas.microsoft.com/office/drawing/2014/main" id="{A2F621A5-AC21-08E8-96A1-1B62E6A9F775}"/>
                  </a:ext>
                </a:extLst>
              </p:cNvPr>
              <p:cNvSpPr/>
              <p:nvPr/>
            </p:nvSpPr>
            <p:spPr>
              <a:xfrm>
                <a:off x="4849924" y="6469961"/>
                <a:ext cx="245641" cy="243402"/>
              </a:xfrm>
              <a:custGeom>
                <a:avLst/>
                <a:gdLst>
                  <a:gd name="connsiteX0" fmla="*/ 119760 w 245641"/>
                  <a:gd name="connsiteY0" fmla="*/ 243131 h 243402"/>
                  <a:gd name="connsiteX1" fmla="*/ 10 w 245641"/>
                  <a:gd name="connsiteY1" fmla="*/ 124045 h 243402"/>
                  <a:gd name="connsiteX2" fmla="*/ 119644 w 245641"/>
                  <a:gd name="connsiteY2" fmla="*/ 3 h 243402"/>
                  <a:gd name="connsiteX3" fmla="*/ 245618 w 245641"/>
                  <a:gd name="connsiteY3" fmla="*/ 114707 h 243402"/>
                  <a:gd name="connsiteX4" fmla="*/ 119644 w 245641"/>
                  <a:gd name="connsiteY4" fmla="*/ 243131 h 243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641" h="243402">
                    <a:moveTo>
                      <a:pt x="119760" y="243131"/>
                    </a:moveTo>
                    <a:cubicBezTo>
                      <a:pt x="62939" y="248203"/>
                      <a:pt x="932" y="181340"/>
                      <a:pt x="10" y="124045"/>
                    </a:cubicBezTo>
                    <a:cubicBezTo>
                      <a:pt x="-912" y="65021"/>
                      <a:pt x="62132" y="463"/>
                      <a:pt x="119644" y="3"/>
                    </a:cubicBezTo>
                    <a:cubicBezTo>
                      <a:pt x="177733" y="-459"/>
                      <a:pt x="247116" y="60525"/>
                      <a:pt x="245618" y="114707"/>
                    </a:cubicBezTo>
                    <a:cubicBezTo>
                      <a:pt x="243658" y="187911"/>
                      <a:pt x="187068" y="241632"/>
                      <a:pt x="119644" y="243131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6" name="Freeform 275">
                <a:extLst>
                  <a:ext uri="{FF2B5EF4-FFF2-40B4-BE49-F238E27FC236}">
                    <a16:creationId xmlns:a16="http://schemas.microsoft.com/office/drawing/2014/main" id="{9E19FD74-F72F-4976-F739-5CF630EC1E45}"/>
                  </a:ext>
                </a:extLst>
              </p:cNvPr>
              <p:cNvSpPr/>
              <p:nvPr/>
            </p:nvSpPr>
            <p:spPr>
              <a:xfrm>
                <a:off x="4882436" y="5983242"/>
                <a:ext cx="243418" cy="243017"/>
              </a:xfrm>
              <a:custGeom>
                <a:avLst/>
                <a:gdLst>
                  <a:gd name="connsiteX0" fmla="*/ 243418 w 243418"/>
                  <a:gd name="connsiteY0" fmla="*/ 121280 h 243017"/>
                  <a:gd name="connsiteX1" fmla="*/ 114333 w 243418"/>
                  <a:gd name="connsiteY1" fmla="*/ 243017 h 243017"/>
                  <a:gd name="connsiteX2" fmla="*/ 0 w 243418"/>
                  <a:gd name="connsiteY2" fmla="*/ 118744 h 243017"/>
                  <a:gd name="connsiteX3" fmla="*/ 122746 w 243418"/>
                  <a:gd name="connsiteY3" fmla="*/ 4 h 243017"/>
                  <a:gd name="connsiteX4" fmla="*/ 243303 w 243418"/>
                  <a:gd name="connsiteY4" fmla="*/ 121396 h 24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3418" h="243017">
                    <a:moveTo>
                      <a:pt x="243418" y="121280"/>
                    </a:moveTo>
                    <a:cubicBezTo>
                      <a:pt x="243187" y="186068"/>
                      <a:pt x="183025" y="242902"/>
                      <a:pt x="114333" y="243017"/>
                    </a:cubicBezTo>
                    <a:cubicBezTo>
                      <a:pt x="57973" y="243133"/>
                      <a:pt x="-115" y="179958"/>
                      <a:pt x="0" y="118744"/>
                    </a:cubicBezTo>
                    <a:cubicBezTo>
                      <a:pt x="116" y="58683"/>
                      <a:pt x="61316" y="-572"/>
                      <a:pt x="122746" y="4"/>
                    </a:cubicBezTo>
                    <a:cubicBezTo>
                      <a:pt x="183716" y="580"/>
                      <a:pt x="243533" y="60758"/>
                      <a:pt x="243303" y="12139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7" name="Freeform 276">
                <a:extLst>
                  <a:ext uri="{FF2B5EF4-FFF2-40B4-BE49-F238E27FC236}">
                    <a16:creationId xmlns:a16="http://schemas.microsoft.com/office/drawing/2014/main" id="{D4E6CE47-C6C1-B97D-DDC9-0296458F54F8}"/>
                  </a:ext>
                </a:extLst>
              </p:cNvPr>
              <p:cNvSpPr/>
              <p:nvPr/>
            </p:nvSpPr>
            <p:spPr>
              <a:xfrm>
                <a:off x="5293434" y="6220956"/>
                <a:ext cx="164299" cy="161345"/>
              </a:xfrm>
              <a:custGeom>
                <a:avLst/>
                <a:gdLst>
                  <a:gd name="connsiteX0" fmla="*/ 77797 w 164299"/>
                  <a:gd name="connsiteY0" fmla="*/ 0 h 161345"/>
                  <a:gd name="connsiteX1" fmla="*/ 164238 w 164299"/>
                  <a:gd name="connsiteY1" fmla="*/ 73896 h 161345"/>
                  <a:gd name="connsiteX2" fmla="*/ 87133 w 164299"/>
                  <a:gd name="connsiteY2" fmla="*/ 161278 h 161345"/>
                  <a:gd name="connsiteX3" fmla="*/ 0 w 164299"/>
                  <a:gd name="connsiteY3" fmla="*/ 83579 h 161345"/>
                  <a:gd name="connsiteX4" fmla="*/ 77797 w 164299"/>
                  <a:gd name="connsiteY4" fmla="*/ 115 h 161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99" h="161345">
                    <a:moveTo>
                      <a:pt x="77797" y="0"/>
                    </a:moveTo>
                    <a:cubicBezTo>
                      <a:pt x="126089" y="0"/>
                      <a:pt x="162394" y="32164"/>
                      <a:pt x="164238" y="73896"/>
                    </a:cubicBezTo>
                    <a:cubicBezTo>
                      <a:pt x="165967" y="111477"/>
                      <a:pt x="130699" y="163469"/>
                      <a:pt x="87133" y="161278"/>
                    </a:cubicBezTo>
                    <a:cubicBezTo>
                      <a:pt x="39533" y="158858"/>
                      <a:pt x="-115" y="126002"/>
                      <a:pt x="0" y="83579"/>
                    </a:cubicBezTo>
                    <a:cubicBezTo>
                      <a:pt x="0" y="37928"/>
                      <a:pt x="35268" y="231"/>
                      <a:pt x="77797" y="11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13BF0A7A-575F-7346-E102-B20305AB3968}"/>
                  </a:ext>
                </a:extLst>
              </p:cNvPr>
              <p:cNvSpPr/>
              <p:nvPr/>
            </p:nvSpPr>
            <p:spPr>
              <a:xfrm>
                <a:off x="4656076" y="6371628"/>
                <a:ext cx="159403" cy="159090"/>
              </a:xfrm>
              <a:custGeom>
                <a:avLst/>
                <a:gdLst>
                  <a:gd name="connsiteX0" fmla="*/ 83099 w 159403"/>
                  <a:gd name="connsiteY0" fmla="*/ 159089 h 159090"/>
                  <a:gd name="connsiteX1" fmla="*/ 0 w 159403"/>
                  <a:gd name="connsiteY1" fmla="*/ 84272 h 159090"/>
                  <a:gd name="connsiteX2" fmla="*/ 74570 w 159403"/>
                  <a:gd name="connsiteY2" fmla="*/ 1 h 159090"/>
                  <a:gd name="connsiteX3" fmla="*/ 159397 w 159403"/>
                  <a:gd name="connsiteY3" fmla="*/ 77124 h 159090"/>
                  <a:gd name="connsiteX4" fmla="*/ 83099 w 159403"/>
                  <a:gd name="connsiteY4" fmla="*/ 159089 h 159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403" h="159090">
                    <a:moveTo>
                      <a:pt x="83099" y="159089"/>
                    </a:moveTo>
                    <a:cubicBezTo>
                      <a:pt x="37804" y="159320"/>
                      <a:pt x="-115" y="125196"/>
                      <a:pt x="0" y="84272"/>
                    </a:cubicBezTo>
                    <a:cubicBezTo>
                      <a:pt x="0" y="39312"/>
                      <a:pt x="35153" y="-230"/>
                      <a:pt x="74570" y="1"/>
                    </a:cubicBezTo>
                    <a:cubicBezTo>
                      <a:pt x="121709" y="347"/>
                      <a:pt x="159974" y="35162"/>
                      <a:pt x="159397" y="77124"/>
                    </a:cubicBezTo>
                    <a:cubicBezTo>
                      <a:pt x="158821" y="121277"/>
                      <a:pt x="123899" y="158859"/>
                      <a:pt x="83099" y="15908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9" name="Freeform 278">
                <a:extLst>
                  <a:ext uri="{FF2B5EF4-FFF2-40B4-BE49-F238E27FC236}">
                    <a16:creationId xmlns:a16="http://schemas.microsoft.com/office/drawing/2014/main" id="{D3EE6BE9-DAD2-847D-2B98-57964068B2FD}"/>
                  </a:ext>
                </a:extLst>
              </p:cNvPr>
              <p:cNvSpPr/>
              <p:nvPr/>
            </p:nvSpPr>
            <p:spPr>
              <a:xfrm>
                <a:off x="5651635" y="6004458"/>
                <a:ext cx="171031" cy="160605"/>
              </a:xfrm>
              <a:custGeom>
                <a:avLst/>
                <a:gdLst>
                  <a:gd name="connsiteX0" fmla="*/ 18797 w 171031"/>
                  <a:gd name="connsiteY0" fmla="*/ 33086 h 160605"/>
                  <a:gd name="connsiteX1" fmla="*/ 136472 w 171031"/>
                  <a:gd name="connsiteY1" fmla="*/ 0 h 160605"/>
                  <a:gd name="connsiteX2" fmla="*/ 146730 w 171031"/>
                  <a:gd name="connsiteY2" fmla="*/ 12796 h 160605"/>
                  <a:gd name="connsiteX3" fmla="*/ 123333 w 171031"/>
                  <a:gd name="connsiteY3" fmla="*/ 152632 h 160605"/>
                  <a:gd name="connsiteX4" fmla="*/ 17183 w 171031"/>
                  <a:gd name="connsiteY4" fmla="*/ 125195 h 160605"/>
                  <a:gd name="connsiteX5" fmla="*/ 18797 w 171031"/>
                  <a:gd name="connsiteY5" fmla="*/ 32970 h 160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1031" h="160605">
                    <a:moveTo>
                      <a:pt x="18797" y="33086"/>
                    </a:moveTo>
                    <a:cubicBezTo>
                      <a:pt x="64438" y="44729"/>
                      <a:pt x="104085" y="35391"/>
                      <a:pt x="136472" y="0"/>
                    </a:cubicBezTo>
                    <a:cubicBezTo>
                      <a:pt x="139930" y="4265"/>
                      <a:pt x="143041" y="8876"/>
                      <a:pt x="146730" y="12796"/>
                    </a:cubicBezTo>
                    <a:cubicBezTo>
                      <a:pt x="187069" y="56603"/>
                      <a:pt x="175774" y="123927"/>
                      <a:pt x="123333" y="152632"/>
                    </a:cubicBezTo>
                    <a:cubicBezTo>
                      <a:pt x="91407" y="170155"/>
                      <a:pt x="43922" y="157820"/>
                      <a:pt x="17183" y="125195"/>
                    </a:cubicBezTo>
                    <a:cubicBezTo>
                      <a:pt x="-6329" y="96606"/>
                      <a:pt x="-5637" y="62482"/>
                      <a:pt x="18797" y="3297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F721D906-1102-04D1-E641-0659F1606283}"/>
                  </a:ext>
                </a:extLst>
              </p:cNvPr>
              <p:cNvSpPr/>
              <p:nvPr/>
            </p:nvSpPr>
            <p:spPr>
              <a:xfrm>
                <a:off x="8614957" y="3258"/>
                <a:ext cx="3918" cy="5418"/>
              </a:xfrm>
              <a:custGeom>
                <a:avLst/>
                <a:gdLst>
                  <a:gd name="connsiteX0" fmla="*/ 0 w 3918"/>
                  <a:gd name="connsiteY0" fmla="*/ 0 h 5418"/>
                  <a:gd name="connsiteX1" fmla="*/ 3918 w 3918"/>
                  <a:gd name="connsiteY1" fmla="*/ 5418 h 5418"/>
                  <a:gd name="connsiteX2" fmla="*/ 0 w 3918"/>
                  <a:gd name="connsiteY2" fmla="*/ 0 h 5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18" h="5418">
                    <a:moveTo>
                      <a:pt x="0" y="0"/>
                    </a:moveTo>
                    <a:cubicBezTo>
                      <a:pt x="1268" y="1845"/>
                      <a:pt x="2651" y="3574"/>
                      <a:pt x="3918" y="5418"/>
                    </a:cubicBezTo>
                    <a:cubicBezTo>
                      <a:pt x="2651" y="3574"/>
                      <a:pt x="1268" y="1845"/>
                      <a:pt x="0" y="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1" name="Freeform 280">
                <a:extLst>
                  <a:ext uri="{FF2B5EF4-FFF2-40B4-BE49-F238E27FC236}">
                    <a16:creationId xmlns:a16="http://schemas.microsoft.com/office/drawing/2014/main" id="{EBBA0EF5-BE05-4981-B85E-12E063F823EE}"/>
                  </a:ext>
                </a:extLst>
              </p:cNvPr>
              <p:cNvSpPr/>
              <p:nvPr/>
            </p:nvSpPr>
            <p:spPr>
              <a:xfrm>
                <a:off x="9775366" y="1305959"/>
                <a:ext cx="409865" cy="417066"/>
              </a:xfrm>
              <a:custGeom>
                <a:avLst/>
                <a:gdLst>
                  <a:gd name="connsiteX0" fmla="*/ 402444 w 409865"/>
                  <a:gd name="connsiteY0" fmla="*/ 151804 h 417066"/>
                  <a:gd name="connsiteX1" fmla="*/ 278545 w 409865"/>
                  <a:gd name="connsiteY1" fmla="*/ 10700 h 417066"/>
                  <a:gd name="connsiteX2" fmla="*/ 185765 w 409865"/>
                  <a:gd name="connsiteY2" fmla="*/ 785 h 417066"/>
                  <a:gd name="connsiteX3" fmla="*/ 11039 w 409865"/>
                  <a:gd name="connsiteY3" fmla="*/ 131860 h 417066"/>
                  <a:gd name="connsiteX4" fmla="*/ 2049 w 409865"/>
                  <a:gd name="connsiteY4" fmla="*/ 238495 h 417066"/>
                  <a:gd name="connsiteX5" fmla="*/ 148653 w 409865"/>
                  <a:gd name="connsiteY5" fmla="*/ 410149 h 417066"/>
                  <a:gd name="connsiteX6" fmla="*/ 203169 w 409865"/>
                  <a:gd name="connsiteY6" fmla="*/ 417066 h 417066"/>
                  <a:gd name="connsiteX7" fmla="*/ 203399 w 409865"/>
                  <a:gd name="connsiteY7" fmla="*/ 415106 h 417066"/>
                  <a:gd name="connsiteX8" fmla="*/ 228294 w 409865"/>
                  <a:gd name="connsiteY8" fmla="*/ 414991 h 417066"/>
                  <a:gd name="connsiteX9" fmla="*/ 382390 w 409865"/>
                  <a:gd name="connsiteY9" fmla="*/ 317809 h 417066"/>
                  <a:gd name="connsiteX10" fmla="*/ 402328 w 409865"/>
                  <a:gd name="connsiteY10" fmla="*/ 151804 h 417066"/>
                  <a:gd name="connsiteX11" fmla="*/ 203860 w 409865"/>
                  <a:gd name="connsiteY11" fmla="*/ 260860 h 417066"/>
                  <a:gd name="connsiteX12" fmla="*/ 151765 w 409865"/>
                  <a:gd name="connsiteY12" fmla="*/ 207139 h 417066"/>
                  <a:gd name="connsiteX13" fmla="*/ 209161 w 409865"/>
                  <a:gd name="connsiteY13" fmla="*/ 151458 h 417066"/>
                  <a:gd name="connsiteX14" fmla="*/ 255840 w 409865"/>
                  <a:gd name="connsiteY14" fmla="*/ 208176 h 417066"/>
                  <a:gd name="connsiteX15" fmla="*/ 203745 w 409865"/>
                  <a:gd name="connsiteY15" fmla="*/ 260745 h 417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09865" h="417066">
                    <a:moveTo>
                      <a:pt x="402444" y="151804"/>
                    </a:moveTo>
                    <a:cubicBezTo>
                      <a:pt x="385156" y="84595"/>
                      <a:pt x="346199" y="34793"/>
                      <a:pt x="278545" y="10700"/>
                    </a:cubicBezTo>
                    <a:cubicBezTo>
                      <a:pt x="248233" y="-22"/>
                      <a:pt x="217229" y="-1174"/>
                      <a:pt x="185765" y="785"/>
                    </a:cubicBezTo>
                    <a:cubicBezTo>
                      <a:pt x="104049" y="5742"/>
                      <a:pt x="36741" y="56466"/>
                      <a:pt x="11039" y="131860"/>
                    </a:cubicBezTo>
                    <a:cubicBezTo>
                      <a:pt x="-832" y="166675"/>
                      <a:pt x="-1870" y="202874"/>
                      <a:pt x="2049" y="238495"/>
                    </a:cubicBezTo>
                    <a:cubicBezTo>
                      <a:pt x="11500" y="324495"/>
                      <a:pt x="54721" y="388015"/>
                      <a:pt x="148653" y="410149"/>
                    </a:cubicBezTo>
                    <a:cubicBezTo>
                      <a:pt x="166402" y="414299"/>
                      <a:pt x="184958" y="414876"/>
                      <a:pt x="203169" y="417066"/>
                    </a:cubicBezTo>
                    <a:cubicBezTo>
                      <a:pt x="203169" y="416374"/>
                      <a:pt x="203284" y="415798"/>
                      <a:pt x="203399" y="415106"/>
                    </a:cubicBezTo>
                    <a:cubicBezTo>
                      <a:pt x="211697" y="415106"/>
                      <a:pt x="220111" y="415798"/>
                      <a:pt x="228294" y="414991"/>
                    </a:cubicBezTo>
                    <a:cubicBezTo>
                      <a:pt x="295602" y="407959"/>
                      <a:pt x="350003" y="380061"/>
                      <a:pt x="382390" y="317809"/>
                    </a:cubicBezTo>
                    <a:cubicBezTo>
                      <a:pt x="409820" y="265125"/>
                      <a:pt x="417197" y="209099"/>
                      <a:pt x="402328" y="151804"/>
                    </a:cubicBezTo>
                    <a:close/>
                    <a:moveTo>
                      <a:pt x="203860" y="260860"/>
                    </a:moveTo>
                    <a:cubicBezTo>
                      <a:pt x="165480" y="260629"/>
                      <a:pt x="150843" y="245873"/>
                      <a:pt x="151765" y="207139"/>
                    </a:cubicBezTo>
                    <a:cubicBezTo>
                      <a:pt x="152687" y="168981"/>
                      <a:pt x="171474" y="153648"/>
                      <a:pt x="209161" y="151458"/>
                    </a:cubicBezTo>
                    <a:cubicBezTo>
                      <a:pt x="236362" y="149959"/>
                      <a:pt x="255840" y="175206"/>
                      <a:pt x="255840" y="208176"/>
                    </a:cubicBezTo>
                    <a:cubicBezTo>
                      <a:pt x="255840" y="248294"/>
                      <a:pt x="243162" y="261090"/>
                      <a:pt x="203745" y="26074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2" name="Freeform 281">
                <a:extLst>
                  <a:ext uri="{FF2B5EF4-FFF2-40B4-BE49-F238E27FC236}">
                    <a16:creationId xmlns:a16="http://schemas.microsoft.com/office/drawing/2014/main" id="{7A229D6D-6F64-E097-A4FF-13753AD0D6CA}"/>
                  </a:ext>
                </a:extLst>
              </p:cNvPr>
              <p:cNvSpPr/>
              <p:nvPr/>
            </p:nvSpPr>
            <p:spPr>
              <a:xfrm>
                <a:off x="7944664" y="4057768"/>
                <a:ext cx="383986" cy="384385"/>
              </a:xfrm>
              <a:custGeom>
                <a:avLst/>
                <a:gdLst>
                  <a:gd name="connsiteX0" fmla="*/ 197288 w 383986"/>
                  <a:gd name="connsiteY0" fmla="*/ 49 h 384385"/>
                  <a:gd name="connsiteX1" fmla="*/ 88 w 383986"/>
                  <a:gd name="connsiteY1" fmla="*/ 190955 h 384385"/>
                  <a:gd name="connsiteX2" fmla="*/ 185763 w 383986"/>
                  <a:gd name="connsiteY2" fmla="*/ 384282 h 384385"/>
                  <a:gd name="connsiteX3" fmla="*/ 383655 w 383986"/>
                  <a:gd name="connsiteY3" fmla="*/ 187727 h 384385"/>
                  <a:gd name="connsiteX4" fmla="*/ 197288 w 383986"/>
                  <a:gd name="connsiteY4" fmla="*/ 49 h 384385"/>
                  <a:gd name="connsiteX5" fmla="*/ 191180 w 383986"/>
                  <a:gd name="connsiteY5" fmla="*/ 244215 h 384385"/>
                  <a:gd name="connsiteX6" fmla="*/ 140583 w 383986"/>
                  <a:gd name="connsiteY6" fmla="*/ 193837 h 384385"/>
                  <a:gd name="connsiteX7" fmla="*/ 196482 w 383986"/>
                  <a:gd name="connsiteY7" fmla="*/ 141038 h 384385"/>
                  <a:gd name="connsiteX8" fmla="*/ 244312 w 383986"/>
                  <a:gd name="connsiteY8" fmla="*/ 186344 h 384385"/>
                  <a:gd name="connsiteX9" fmla="*/ 191180 w 383986"/>
                  <a:gd name="connsiteY9" fmla="*/ 244215 h 384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3986" h="384385">
                    <a:moveTo>
                      <a:pt x="197288" y="49"/>
                    </a:moveTo>
                    <a:cubicBezTo>
                      <a:pt x="96095" y="-2718"/>
                      <a:pt x="-3370" y="111642"/>
                      <a:pt x="88" y="190955"/>
                    </a:cubicBezTo>
                    <a:cubicBezTo>
                      <a:pt x="4467" y="292403"/>
                      <a:pt x="87681" y="380593"/>
                      <a:pt x="185763" y="384282"/>
                    </a:cubicBezTo>
                    <a:cubicBezTo>
                      <a:pt x="283499" y="387971"/>
                      <a:pt x="387804" y="292403"/>
                      <a:pt x="383655" y="187727"/>
                    </a:cubicBezTo>
                    <a:cubicBezTo>
                      <a:pt x="390570" y="88355"/>
                      <a:pt x="288109" y="2470"/>
                      <a:pt x="197288" y="49"/>
                    </a:cubicBezTo>
                    <a:close/>
                    <a:moveTo>
                      <a:pt x="191180" y="244215"/>
                    </a:moveTo>
                    <a:cubicBezTo>
                      <a:pt x="169858" y="244330"/>
                      <a:pt x="140698" y="215279"/>
                      <a:pt x="140583" y="193837"/>
                    </a:cubicBezTo>
                    <a:cubicBezTo>
                      <a:pt x="140583" y="173202"/>
                      <a:pt x="175275" y="140346"/>
                      <a:pt x="196482" y="141038"/>
                    </a:cubicBezTo>
                    <a:cubicBezTo>
                      <a:pt x="219417" y="141730"/>
                      <a:pt x="243966" y="165017"/>
                      <a:pt x="244312" y="186344"/>
                    </a:cubicBezTo>
                    <a:cubicBezTo>
                      <a:pt x="244773" y="212051"/>
                      <a:pt x="215268" y="244100"/>
                      <a:pt x="191180" y="24421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3" name="Freeform 282">
                <a:extLst>
                  <a:ext uri="{FF2B5EF4-FFF2-40B4-BE49-F238E27FC236}">
                    <a16:creationId xmlns:a16="http://schemas.microsoft.com/office/drawing/2014/main" id="{AAB5B099-3889-633F-D7C1-1C10FBE2D224}"/>
                  </a:ext>
                </a:extLst>
              </p:cNvPr>
              <p:cNvSpPr/>
              <p:nvPr/>
            </p:nvSpPr>
            <p:spPr>
              <a:xfrm>
                <a:off x="9685066" y="2743432"/>
                <a:ext cx="371647" cy="377638"/>
              </a:xfrm>
              <a:custGeom>
                <a:avLst/>
                <a:gdLst>
                  <a:gd name="connsiteX0" fmla="*/ 187550 w 371647"/>
                  <a:gd name="connsiteY0" fmla="*/ 179 h 377638"/>
                  <a:gd name="connsiteX1" fmla="*/ 170031 w 371647"/>
                  <a:gd name="connsiteY1" fmla="*/ 179 h 377638"/>
                  <a:gd name="connsiteX2" fmla="*/ 6600 w 371647"/>
                  <a:gd name="connsiteY2" fmla="*/ 135058 h 377638"/>
                  <a:gd name="connsiteX3" fmla="*/ 4180 w 371647"/>
                  <a:gd name="connsiteY3" fmla="*/ 236160 h 377638"/>
                  <a:gd name="connsiteX4" fmla="*/ 101454 w 371647"/>
                  <a:gd name="connsiteY4" fmla="*/ 361009 h 377638"/>
                  <a:gd name="connsiteX5" fmla="*/ 234228 w 371647"/>
                  <a:gd name="connsiteY5" fmla="*/ 372307 h 377638"/>
                  <a:gd name="connsiteX6" fmla="*/ 363429 w 371647"/>
                  <a:gd name="connsiteY6" fmla="*/ 247688 h 377638"/>
                  <a:gd name="connsiteX7" fmla="*/ 368038 w 371647"/>
                  <a:gd name="connsiteY7" fmla="*/ 146932 h 377638"/>
                  <a:gd name="connsiteX8" fmla="*/ 187435 w 371647"/>
                  <a:gd name="connsiteY8" fmla="*/ 179 h 377638"/>
                  <a:gd name="connsiteX9" fmla="*/ 186859 w 371647"/>
                  <a:gd name="connsiteY9" fmla="*/ 238004 h 377638"/>
                  <a:gd name="connsiteX10" fmla="*/ 137875 w 371647"/>
                  <a:gd name="connsiteY10" fmla="*/ 188548 h 377638"/>
                  <a:gd name="connsiteX11" fmla="*/ 187435 w 371647"/>
                  <a:gd name="connsiteY11" fmla="*/ 138632 h 377638"/>
                  <a:gd name="connsiteX12" fmla="*/ 233306 w 371647"/>
                  <a:gd name="connsiteY12" fmla="*/ 191776 h 377638"/>
                  <a:gd name="connsiteX13" fmla="*/ 186859 w 371647"/>
                  <a:gd name="connsiteY13" fmla="*/ 237889 h 37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1647" h="377638">
                    <a:moveTo>
                      <a:pt x="187550" y="179"/>
                    </a:moveTo>
                    <a:cubicBezTo>
                      <a:pt x="184784" y="179"/>
                      <a:pt x="177408" y="-52"/>
                      <a:pt x="170031" y="179"/>
                    </a:cubicBezTo>
                    <a:cubicBezTo>
                      <a:pt x="87278" y="3637"/>
                      <a:pt x="25502" y="54592"/>
                      <a:pt x="6600" y="135058"/>
                    </a:cubicBezTo>
                    <a:cubicBezTo>
                      <a:pt x="-1237" y="168605"/>
                      <a:pt x="-2159" y="202152"/>
                      <a:pt x="4180" y="236160"/>
                    </a:cubicBezTo>
                    <a:cubicBezTo>
                      <a:pt x="15014" y="294722"/>
                      <a:pt x="46479" y="337607"/>
                      <a:pt x="101454" y="361009"/>
                    </a:cubicBezTo>
                    <a:cubicBezTo>
                      <a:pt x="144099" y="379224"/>
                      <a:pt x="189164" y="381645"/>
                      <a:pt x="234228" y="372307"/>
                    </a:cubicBezTo>
                    <a:cubicBezTo>
                      <a:pt x="303035" y="358127"/>
                      <a:pt x="345679" y="315473"/>
                      <a:pt x="363429" y="247688"/>
                    </a:cubicBezTo>
                    <a:cubicBezTo>
                      <a:pt x="372073" y="214371"/>
                      <a:pt x="374377" y="181286"/>
                      <a:pt x="368038" y="146932"/>
                    </a:cubicBezTo>
                    <a:cubicBezTo>
                      <a:pt x="351673" y="57128"/>
                      <a:pt x="278832" y="-3741"/>
                      <a:pt x="187435" y="179"/>
                    </a:cubicBezTo>
                    <a:close/>
                    <a:moveTo>
                      <a:pt x="186859" y="238004"/>
                    </a:moveTo>
                    <a:cubicBezTo>
                      <a:pt x="152974" y="237658"/>
                      <a:pt x="137529" y="222095"/>
                      <a:pt x="137875" y="188548"/>
                    </a:cubicBezTo>
                    <a:cubicBezTo>
                      <a:pt x="138221" y="156039"/>
                      <a:pt x="155855" y="138286"/>
                      <a:pt x="187435" y="138632"/>
                    </a:cubicBezTo>
                    <a:cubicBezTo>
                      <a:pt x="217631" y="139093"/>
                      <a:pt x="234574" y="158691"/>
                      <a:pt x="233306" y="191776"/>
                    </a:cubicBezTo>
                    <a:cubicBezTo>
                      <a:pt x="232154" y="222095"/>
                      <a:pt x="215788" y="238235"/>
                      <a:pt x="186859" y="23788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4" name="Freeform 283">
                <a:extLst>
                  <a:ext uri="{FF2B5EF4-FFF2-40B4-BE49-F238E27FC236}">
                    <a16:creationId xmlns:a16="http://schemas.microsoft.com/office/drawing/2014/main" id="{327FBB5F-14C1-03F0-F50F-EDC87BAAFD48}"/>
                  </a:ext>
                </a:extLst>
              </p:cNvPr>
              <p:cNvSpPr/>
              <p:nvPr/>
            </p:nvSpPr>
            <p:spPr>
              <a:xfrm>
                <a:off x="5160891" y="5754758"/>
                <a:ext cx="39838" cy="48187"/>
              </a:xfrm>
              <a:custGeom>
                <a:avLst/>
                <a:gdLst>
                  <a:gd name="connsiteX0" fmla="*/ 25933 w 39838"/>
                  <a:gd name="connsiteY0" fmla="*/ 346 h 48187"/>
                  <a:gd name="connsiteX1" fmla="*/ 39648 w 39838"/>
                  <a:gd name="connsiteY1" fmla="*/ 24786 h 48187"/>
                  <a:gd name="connsiteX2" fmla="*/ 17981 w 39838"/>
                  <a:gd name="connsiteY2" fmla="*/ 48188 h 48187"/>
                  <a:gd name="connsiteX3" fmla="*/ 1 w 39838"/>
                  <a:gd name="connsiteY3" fmla="*/ 25823 h 48187"/>
                  <a:gd name="connsiteX4" fmla="*/ 16482 w 39838"/>
                  <a:gd name="connsiteY4" fmla="*/ 0 h 48187"/>
                  <a:gd name="connsiteX5" fmla="*/ 25933 w 39838"/>
                  <a:gd name="connsiteY5" fmla="*/ 461 h 48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38" h="48187">
                    <a:moveTo>
                      <a:pt x="25933" y="346"/>
                    </a:moveTo>
                    <a:cubicBezTo>
                      <a:pt x="30889" y="8646"/>
                      <a:pt x="41377" y="18330"/>
                      <a:pt x="39648" y="24786"/>
                    </a:cubicBezTo>
                    <a:cubicBezTo>
                      <a:pt x="37113" y="33893"/>
                      <a:pt x="25703" y="40464"/>
                      <a:pt x="17981" y="48188"/>
                    </a:cubicBezTo>
                    <a:cubicBezTo>
                      <a:pt x="11526" y="40694"/>
                      <a:pt x="-114" y="33201"/>
                      <a:pt x="1" y="25823"/>
                    </a:cubicBezTo>
                    <a:cubicBezTo>
                      <a:pt x="231" y="17062"/>
                      <a:pt x="10489" y="8531"/>
                      <a:pt x="16482" y="0"/>
                    </a:cubicBezTo>
                    <a:cubicBezTo>
                      <a:pt x="19594" y="115"/>
                      <a:pt x="22821" y="346"/>
                      <a:pt x="25933" y="461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  <p:grpSp>
          <p:nvGrpSpPr>
            <p:cNvPr id="306" name="Group 305">
              <a:extLst>
                <a:ext uri="{FF2B5EF4-FFF2-40B4-BE49-F238E27FC236}">
                  <a16:creationId xmlns:a16="http://schemas.microsoft.com/office/drawing/2014/main" id="{46C89F7A-3B63-A0E9-6E53-EEADE03C642D}"/>
                </a:ext>
              </a:extLst>
            </p:cNvPr>
            <p:cNvGrpSpPr/>
            <p:nvPr userDrawn="1"/>
          </p:nvGrpSpPr>
          <p:grpSpPr>
            <a:xfrm>
              <a:off x="5091277" y="2682"/>
              <a:ext cx="6544387" cy="5993875"/>
              <a:chOff x="5091277" y="2682"/>
              <a:chExt cx="6544387" cy="5993875"/>
            </a:xfrm>
            <a:solidFill>
              <a:srgbClr val="E27628"/>
            </a:solidFill>
          </p:grpSpPr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859EFD1E-5346-56EB-2405-179EA9DDC0DD}"/>
                  </a:ext>
                </a:extLst>
              </p:cNvPr>
              <p:cNvSpPr/>
              <p:nvPr/>
            </p:nvSpPr>
            <p:spPr>
              <a:xfrm>
                <a:off x="7397969" y="198891"/>
                <a:ext cx="626781" cy="658513"/>
              </a:xfrm>
              <a:custGeom>
                <a:avLst/>
                <a:gdLst>
                  <a:gd name="connsiteX0" fmla="*/ 476362 w 626781"/>
                  <a:gd name="connsiteY0" fmla="*/ 231 h 658513"/>
                  <a:gd name="connsiteX1" fmla="*/ 546898 w 626781"/>
                  <a:gd name="connsiteY1" fmla="*/ 4957 h 658513"/>
                  <a:gd name="connsiteX2" fmla="*/ 625386 w 626781"/>
                  <a:gd name="connsiteY2" fmla="*/ 96952 h 658513"/>
                  <a:gd name="connsiteX3" fmla="*/ 613285 w 626781"/>
                  <a:gd name="connsiteY3" fmla="*/ 283707 h 658513"/>
                  <a:gd name="connsiteX4" fmla="*/ 551162 w 626781"/>
                  <a:gd name="connsiteY4" fmla="*/ 520841 h 658513"/>
                  <a:gd name="connsiteX5" fmla="*/ 515318 w 626781"/>
                  <a:gd name="connsiteY5" fmla="*/ 598425 h 658513"/>
                  <a:gd name="connsiteX6" fmla="*/ 431643 w 626781"/>
                  <a:gd name="connsiteY6" fmla="*/ 653645 h 658513"/>
                  <a:gd name="connsiteX7" fmla="*/ 114232 w 626781"/>
                  <a:gd name="connsiteY7" fmla="*/ 548278 h 658513"/>
                  <a:gd name="connsiteX8" fmla="*/ 26869 w 626781"/>
                  <a:gd name="connsiteY8" fmla="*/ 379621 h 658513"/>
                  <a:gd name="connsiteX9" fmla="*/ 2665 w 626781"/>
                  <a:gd name="connsiteY9" fmla="*/ 227104 h 658513"/>
                  <a:gd name="connsiteX10" fmla="*/ 245 w 626781"/>
                  <a:gd name="connsiteY10" fmla="*/ 131075 h 658513"/>
                  <a:gd name="connsiteX11" fmla="*/ 85764 w 626781"/>
                  <a:gd name="connsiteY11" fmla="*/ 35852 h 658513"/>
                  <a:gd name="connsiteX12" fmla="*/ 205859 w 626781"/>
                  <a:gd name="connsiteY12" fmla="*/ 19252 h 658513"/>
                  <a:gd name="connsiteX13" fmla="*/ 338056 w 626781"/>
                  <a:gd name="connsiteY13" fmla="*/ 12681 h 658513"/>
                  <a:gd name="connsiteX14" fmla="*/ 403982 w 626781"/>
                  <a:gd name="connsiteY14" fmla="*/ 6456 h 658513"/>
                  <a:gd name="connsiteX15" fmla="*/ 476362 w 626781"/>
                  <a:gd name="connsiteY15" fmla="*/ 0 h 65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26781" h="658513">
                    <a:moveTo>
                      <a:pt x="476362" y="231"/>
                    </a:moveTo>
                    <a:cubicBezTo>
                      <a:pt x="502986" y="1844"/>
                      <a:pt x="525691" y="231"/>
                      <a:pt x="546898" y="4957"/>
                    </a:cubicBezTo>
                    <a:cubicBezTo>
                      <a:pt x="605447" y="17869"/>
                      <a:pt x="621122" y="32279"/>
                      <a:pt x="625386" y="96952"/>
                    </a:cubicBezTo>
                    <a:cubicBezTo>
                      <a:pt x="629536" y="159549"/>
                      <a:pt x="624119" y="221917"/>
                      <a:pt x="613285" y="283707"/>
                    </a:cubicBezTo>
                    <a:cubicBezTo>
                      <a:pt x="599223" y="364520"/>
                      <a:pt x="581128" y="444294"/>
                      <a:pt x="551162" y="520841"/>
                    </a:cubicBezTo>
                    <a:cubicBezTo>
                      <a:pt x="540789" y="547356"/>
                      <a:pt x="527304" y="572602"/>
                      <a:pt x="515318" y="598425"/>
                    </a:cubicBezTo>
                    <a:cubicBezTo>
                      <a:pt x="498721" y="634047"/>
                      <a:pt x="467718" y="647996"/>
                      <a:pt x="431643" y="653645"/>
                    </a:cubicBezTo>
                    <a:cubicBezTo>
                      <a:pt x="307744" y="673128"/>
                      <a:pt x="202517" y="633356"/>
                      <a:pt x="114232" y="548278"/>
                    </a:cubicBezTo>
                    <a:cubicBezTo>
                      <a:pt x="66977" y="502742"/>
                      <a:pt x="36896" y="445908"/>
                      <a:pt x="26869" y="379621"/>
                    </a:cubicBezTo>
                    <a:cubicBezTo>
                      <a:pt x="19262" y="328667"/>
                      <a:pt x="8889" y="278174"/>
                      <a:pt x="2665" y="227104"/>
                    </a:cubicBezTo>
                    <a:cubicBezTo>
                      <a:pt x="-1138" y="195402"/>
                      <a:pt x="245" y="163123"/>
                      <a:pt x="245" y="131075"/>
                    </a:cubicBezTo>
                    <a:cubicBezTo>
                      <a:pt x="245" y="73319"/>
                      <a:pt x="32171" y="48188"/>
                      <a:pt x="85764" y="35852"/>
                    </a:cubicBezTo>
                    <a:cubicBezTo>
                      <a:pt x="124951" y="26861"/>
                      <a:pt x="165636" y="22710"/>
                      <a:pt x="205859" y="19252"/>
                    </a:cubicBezTo>
                    <a:cubicBezTo>
                      <a:pt x="249771" y="15448"/>
                      <a:pt x="294029" y="15217"/>
                      <a:pt x="338056" y="12681"/>
                    </a:cubicBezTo>
                    <a:cubicBezTo>
                      <a:pt x="360070" y="11413"/>
                      <a:pt x="381968" y="8531"/>
                      <a:pt x="403982" y="6456"/>
                    </a:cubicBezTo>
                    <a:cubicBezTo>
                      <a:pt x="429569" y="4150"/>
                      <a:pt x="455155" y="1960"/>
                      <a:pt x="476362" y="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08" name="Freeform 307">
                <a:extLst>
                  <a:ext uri="{FF2B5EF4-FFF2-40B4-BE49-F238E27FC236}">
                    <a16:creationId xmlns:a16="http://schemas.microsoft.com/office/drawing/2014/main" id="{C7E17CA8-25FC-9BB6-2379-B453C4CE948E}"/>
                  </a:ext>
                </a:extLst>
              </p:cNvPr>
              <p:cNvSpPr/>
              <p:nvPr/>
            </p:nvSpPr>
            <p:spPr>
              <a:xfrm>
                <a:off x="8827726" y="2036186"/>
                <a:ext cx="462507" cy="558643"/>
              </a:xfrm>
              <a:custGeom>
                <a:avLst/>
                <a:gdLst>
                  <a:gd name="connsiteX0" fmla="*/ 462392 w 462507"/>
                  <a:gd name="connsiteY0" fmla="*/ 196036 h 558643"/>
                  <a:gd name="connsiteX1" fmla="*/ 418135 w 462507"/>
                  <a:gd name="connsiteY1" fmla="*/ 322846 h 558643"/>
                  <a:gd name="connsiteX2" fmla="*/ 347945 w 462507"/>
                  <a:gd name="connsiteY2" fmla="*/ 414840 h 558643"/>
                  <a:gd name="connsiteX3" fmla="*/ 236263 w 462507"/>
                  <a:gd name="connsiteY3" fmla="*/ 533349 h 558643"/>
                  <a:gd name="connsiteX4" fmla="*/ 147632 w 462507"/>
                  <a:gd name="connsiteY4" fmla="*/ 543033 h 558643"/>
                  <a:gd name="connsiteX5" fmla="*/ 70642 w 462507"/>
                  <a:gd name="connsiteY5" fmla="*/ 472366 h 558643"/>
                  <a:gd name="connsiteX6" fmla="*/ 40561 w 462507"/>
                  <a:gd name="connsiteY6" fmla="*/ 436398 h 558643"/>
                  <a:gd name="connsiteX7" fmla="*/ 26961 w 462507"/>
                  <a:gd name="connsiteY7" fmla="*/ 235232 h 558643"/>
                  <a:gd name="connsiteX8" fmla="*/ 119971 w 462507"/>
                  <a:gd name="connsiteY8" fmla="*/ 108768 h 558643"/>
                  <a:gd name="connsiteX9" fmla="*/ 196039 w 462507"/>
                  <a:gd name="connsiteY9" fmla="*/ 33259 h 558643"/>
                  <a:gd name="connsiteX10" fmla="*/ 238683 w 462507"/>
                  <a:gd name="connsiteY10" fmla="*/ 8358 h 558643"/>
                  <a:gd name="connsiteX11" fmla="*/ 363158 w 462507"/>
                  <a:gd name="connsiteY11" fmla="*/ 37179 h 558643"/>
                  <a:gd name="connsiteX12" fmla="*/ 435077 w 462507"/>
                  <a:gd name="connsiteY12" fmla="*/ 116953 h 558643"/>
                  <a:gd name="connsiteX13" fmla="*/ 462508 w 462507"/>
                  <a:gd name="connsiteY13" fmla="*/ 196036 h 558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62507" h="558643">
                    <a:moveTo>
                      <a:pt x="462392" y="196036"/>
                    </a:moveTo>
                    <a:cubicBezTo>
                      <a:pt x="460433" y="245261"/>
                      <a:pt x="443030" y="285840"/>
                      <a:pt x="418135" y="322846"/>
                    </a:cubicBezTo>
                    <a:cubicBezTo>
                      <a:pt x="396698" y="354894"/>
                      <a:pt x="373301" y="385905"/>
                      <a:pt x="347945" y="414840"/>
                    </a:cubicBezTo>
                    <a:cubicBezTo>
                      <a:pt x="312101" y="455650"/>
                      <a:pt x="274067" y="494384"/>
                      <a:pt x="236263" y="533349"/>
                    </a:cubicBezTo>
                    <a:cubicBezTo>
                      <a:pt x="207565" y="562746"/>
                      <a:pt x="180825" y="567242"/>
                      <a:pt x="147632" y="543033"/>
                    </a:cubicBezTo>
                    <a:cubicBezTo>
                      <a:pt x="119625" y="522628"/>
                      <a:pt x="95537" y="496690"/>
                      <a:pt x="70642" y="472366"/>
                    </a:cubicBezTo>
                    <a:cubicBezTo>
                      <a:pt x="59463" y="461529"/>
                      <a:pt x="49896" y="448848"/>
                      <a:pt x="40561" y="436398"/>
                    </a:cubicBezTo>
                    <a:cubicBezTo>
                      <a:pt x="-7846" y="372301"/>
                      <a:pt x="-13609" y="303478"/>
                      <a:pt x="26961" y="235232"/>
                    </a:cubicBezTo>
                    <a:cubicBezTo>
                      <a:pt x="53585" y="190388"/>
                      <a:pt x="86778" y="149232"/>
                      <a:pt x="119971" y="108768"/>
                    </a:cubicBezTo>
                    <a:cubicBezTo>
                      <a:pt x="142561" y="81331"/>
                      <a:pt x="169415" y="57007"/>
                      <a:pt x="196039" y="33259"/>
                    </a:cubicBezTo>
                    <a:cubicBezTo>
                      <a:pt x="208141" y="22538"/>
                      <a:pt x="223585" y="14468"/>
                      <a:pt x="238683" y="8358"/>
                    </a:cubicBezTo>
                    <a:cubicBezTo>
                      <a:pt x="286399" y="-10778"/>
                      <a:pt x="328121" y="4669"/>
                      <a:pt x="363158" y="37179"/>
                    </a:cubicBezTo>
                    <a:cubicBezTo>
                      <a:pt x="389321" y="61503"/>
                      <a:pt x="412257" y="89401"/>
                      <a:pt x="435077" y="116953"/>
                    </a:cubicBezTo>
                    <a:cubicBezTo>
                      <a:pt x="454555" y="140471"/>
                      <a:pt x="459742" y="169867"/>
                      <a:pt x="462508" y="19603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09" name="Freeform 308">
                <a:extLst>
                  <a:ext uri="{FF2B5EF4-FFF2-40B4-BE49-F238E27FC236}">
                    <a16:creationId xmlns:a16="http://schemas.microsoft.com/office/drawing/2014/main" id="{5B02D415-0289-5F17-A406-4CA7623F1694}"/>
                  </a:ext>
                </a:extLst>
              </p:cNvPr>
              <p:cNvSpPr/>
              <p:nvPr/>
            </p:nvSpPr>
            <p:spPr>
              <a:xfrm>
                <a:off x="7873120" y="1183576"/>
                <a:ext cx="459581" cy="449840"/>
              </a:xfrm>
              <a:custGeom>
                <a:avLst/>
                <a:gdLst>
                  <a:gd name="connsiteX0" fmla="*/ 450013 w 459581"/>
                  <a:gd name="connsiteY0" fmla="*/ 205248 h 449840"/>
                  <a:gd name="connsiteX1" fmla="*/ 376019 w 459581"/>
                  <a:gd name="connsiteY1" fmla="*/ 378516 h 449840"/>
                  <a:gd name="connsiteX2" fmla="*/ 228032 w 459581"/>
                  <a:gd name="connsiteY2" fmla="*/ 447915 h 449840"/>
                  <a:gd name="connsiteX3" fmla="*/ 52500 w 459581"/>
                  <a:gd name="connsiteY3" fmla="*/ 394771 h 449840"/>
                  <a:gd name="connsiteX4" fmla="*/ 59 w 459581"/>
                  <a:gd name="connsiteY4" fmla="*/ 305543 h 449840"/>
                  <a:gd name="connsiteX5" fmla="*/ 82466 w 459581"/>
                  <a:gd name="connsiteY5" fmla="*/ 104723 h 449840"/>
                  <a:gd name="connsiteX6" fmla="*/ 239328 w 459581"/>
                  <a:gd name="connsiteY6" fmla="*/ 12152 h 449840"/>
                  <a:gd name="connsiteX7" fmla="*/ 292114 w 459581"/>
                  <a:gd name="connsiteY7" fmla="*/ 8232 h 449840"/>
                  <a:gd name="connsiteX8" fmla="*/ 411172 w 459581"/>
                  <a:gd name="connsiteY8" fmla="*/ 98959 h 449840"/>
                  <a:gd name="connsiteX9" fmla="*/ 456236 w 459581"/>
                  <a:gd name="connsiteY9" fmla="*/ 170548 h 449840"/>
                  <a:gd name="connsiteX10" fmla="*/ 450013 w 459581"/>
                  <a:gd name="connsiteY10" fmla="*/ 205248 h 449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9581" h="449840">
                    <a:moveTo>
                      <a:pt x="450013" y="205248"/>
                    </a:moveTo>
                    <a:cubicBezTo>
                      <a:pt x="441945" y="270036"/>
                      <a:pt x="412555" y="326294"/>
                      <a:pt x="376019" y="378516"/>
                    </a:cubicBezTo>
                    <a:cubicBezTo>
                      <a:pt x="323117" y="454256"/>
                      <a:pt x="308941" y="452757"/>
                      <a:pt x="228032" y="447915"/>
                    </a:cubicBezTo>
                    <a:cubicBezTo>
                      <a:pt x="166141" y="444226"/>
                      <a:pt x="107245" y="425551"/>
                      <a:pt x="52500" y="394771"/>
                    </a:cubicBezTo>
                    <a:cubicBezTo>
                      <a:pt x="17001" y="374827"/>
                      <a:pt x="981" y="347390"/>
                      <a:pt x="59" y="305543"/>
                    </a:cubicBezTo>
                    <a:cubicBezTo>
                      <a:pt x="-1555" y="225653"/>
                      <a:pt x="30140" y="161787"/>
                      <a:pt x="82466" y="104723"/>
                    </a:cubicBezTo>
                    <a:cubicBezTo>
                      <a:pt x="125571" y="57803"/>
                      <a:pt x="178473" y="28522"/>
                      <a:pt x="239328" y="12152"/>
                    </a:cubicBezTo>
                    <a:cubicBezTo>
                      <a:pt x="255578" y="-6870"/>
                      <a:pt x="274826" y="163"/>
                      <a:pt x="292114" y="8232"/>
                    </a:cubicBezTo>
                    <a:cubicBezTo>
                      <a:pt x="338216" y="29790"/>
                      <a:pt x="378670" y="59417"/>
                      <a:pt x="411172" y="98959"/>
                    </a:cubicBezTo>
                    <a:cubicBezTo>
                      <a:pt x="429152" y="120862"/>
                      <a:pt x="446901" y="142996"/>
                      <a:pt x="456236" y="170548"/>
                    </a:cubicBezTo>
                    <a:cubicBezTo>
                      <a:pt x="460616" y="183575"/>
                      <a:pt x="462576" y="195564"/>
                      <a:pt x="450013" y="20524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0" name="Freeform 309">
                <a:extLst>
                  <a:ext uri="{FF2B5EF4-FFF2-40B4-BE49-F238E27FC236}">
                    <a16:creationId xmlns:a16="http://schemas.microsoft.com/office/drawing/2014/main" id="{E004AA08-85A6-945E-6C03-449CF845740F}"/>
                  </a:ext>
                </a:extLst>
              </p:cNvPr>
              <p:cNvSpPr/>
              <p:nvPr/>
            </p:nvSpPr>
            <p:spPr>
              <a:xfrm>
                <a:off x="6658394" y="4368490"/>
                <a:ext cx="456984" cy="419087"/>
              </a:xfrm>
              <a:custGeom>
                <a:avLst/>
                <a:gdLst>
                  <a:gd name="connsiteX0" fmla="*/ 283296 w 456984"/>
                  <a:gd name="connsiteY0" fmla="*/ 472 h 419087"/>
                  <a:gd name="connsiteX1" fmla="*/ 389100 w 456984"/>
                  <a:gd name="connsiteY1" fmla="*/ 53271 h 419087"/>
                  <a:gd name="connsiteX2" fmla="*/ 455026 w 456984"/>
                  <a:gd name="connsiteY2" fmla="*/ 200370 h 419087"/>
                  <a:gd name="connsiteX3" fmla="*/ 443039 w 456984"/>
                  <a:gd name="connsiteY3" fmla="*/ 266196 h 419087"/>
                  <a:gd name="connsiteX4" fmla="*/ 279493 w 456984"/>
                  <a:gd name="connsiteY4" fmla="*/ 410412 h 419087"/>
                  <a:gd name="connsiteX5" fmla="*/ 220713 w 456984"/>
                  <a:gd name="connsiteY5" fmla="*/ 415369 h 419087"/>
                  <a:gd name="connsiteX6" fmla="*/ 21092 w 456984"/>
                  <a:gd name="connsiteY6" fmla="*/ 283372 h 419087"/>
                  <a:gd name="connsiteX7" fmla="*/ 3804 w 456984"/>
                  <a:gd name="connsiteY7" fmla="*/ 200715 h 419087"/>
                  <a:gd name="connsiteX8" fmla="*/ 78604 w 456984"/>
                  <a:gd name="connsiteY8" fmla="*/ 83935 h 419087"/>
                  <a:gd name="connsiteX9" fmla="*/ 283181 w 456984"/>
                  <a:gd name="connsiteY9" fmla="*/ 472 h 419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6984" h="419087">
                    <a:moveTo>
                      <a:pt x="283296" y="472"/>
                    </a:moveTo>
                    <a:cubicBezTo>
                      <a:pt x="329629" y="-3448"/>
                      <a:pt x="362361" y="17303"/>
                      <a:pt x="389100" y="53271"/>
                    </a:cubicBezTo>
                    <a:cubicBezTo>
                      <a:pt x="422063" y="97654"/>
                      <a:pt x="444538" y="145957"/>
                      <a:pt x="455026" y="200370"/>
                    </a:cubicBezTo>
                    <a:cubicBezTo>
                      <a:pt x="459636" y="224694"/>
                      <a:pt x="456294" y="246367"/>
                      <a:pt x="443039" y="266196"/>
                    </a:cubicBezTo>
                    <a:cubicBezTo>
                      <a:pt x="401432" y="328678"/>
                      <a:pt x="346686" y="376750"/>
                      <a:pt x="279493" y="410412"/>
                    </a:cubicBezTo>
                    <a:cubicBezTo>
                      <a:pt x="260591" y="419865"/>
                      <a:pt x="241459" y="421710"/>
                      <a:pt x="220713" y="415369"/>
                    </a:cubicBezTo>
                    <a:cubicBezTo>
                      <a:pt x="141072" y="390930"/>
                      <a:pt x="74340" y="347123"/>
                      <a:pt x="21092" y="283372"/>
                    </a:cubicBezTo>
                    <a:cubicBezTo>
                      <a:pt x="1384" y="259739"/>
                      <a:pt x="-4840" y="232303"/>
                      <a:pt x="3804" y="200715"/>
                    </a:cubicBezTo>
                    <a:cubicBezTo>
                      <a:pt x="16828" y="153565"/>
                      <a:pt x="43913" y="116445"/>
                      <a:pt x="78604" y="83935"/>
                    </a:cubicBezTo>
                    <a:cubicBezTo>
                      <a:pt x="136232" y="30099"/>
                      <a:pt x="205269" y="4161"/>
                      <a:pt x="283181" y="47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1" name="Freeform 310">
                <a:extLst>
                  <a:ext uri="{FF2B5EF4-FFF2-40B4-BE49-F238E27FC236}">
                    <a16:creationId xmlns:a16="http://schemas.microsoft.com/office/drawing/2014/main" id="{2910D1B7-5D34-EF44-A850-FA3158902BB7}"/>
                  </a:ext>
                </a:extLst>
              </p:cNvPr>
              <p:cNvSpPr/>
              <p:nvPr/>
            </p:nvSpPr>
            <p:spPr>
              <a:xfrm>
                <a:off x="10352624" y="1561047"/>
                <a:ext cx="446706" cy="333862"/>
              </a:xfrm>
              <a:custGeom>
                <a:avLst/>
                <a:gdLst>
                  <a:gd name="connsiteX0" fmla="*/ 102603 w 446706"/>
                  <a:gd name="connsiteY0" fmla="*/ 331557 h 333862"/>
                  <a:gd name="connsiteX1" fmla="*/ 58460 w 446706"/>
                  <a:gd name="connsiteY1" fmla="*/ 331557 h 333862"/>
                  <a:gd name="connsiteX2" fmla="*/ 6135 w 446706"/>
                  <a:gd name="connsiteY2" fmla="*/ 290978 h 333862"/>
                  <a:gd name="connsiteX3" fmla="*/ 26 w 446706"/>
                  <a:gd name="connsiteY3" fmla="*/ 255817 h 333862"/>
                  <a:gd name="connsiteX4" fmla="*/ 6942 w 446706"/>
                  <a:gd name="connsiteY4" fmla="*/ 140421 h 333862"/>
                  <a:gd name="connsiteX5" fmla="*/ 98800 w 446706"/>
                  <a:gd name="connsiteY5" fmla="*/ 29405 h 333862"/>
                  <a:gd name="connsiteX6" fmla="*/ 198034 w 446706"/>
                  <a:gd name="connsiteY6" fmla="*/ 7040 h 333862"/>
                  <a:gd name="connsiteX7" fmla="*/ 324584 w 446706"/>
                  <a:gd name="connsiteY7" fmla="*/ 123 h 333862"/>
                  <a:gd name="connsiteX8" fmla="*/ 346597 w 446706"/>
                  <a:gd name="connsiteY8" fmla="*/ 1622 h 333862"/>
                  <a:gd name="connsiteX9" fmla="*/ 446523 w 446706"/>
                  <a:gd name="connsiteY9" fmla="*/ 130737 h 333862"/>
                  <a:gd name="connsiteX10" fmla="*/ 436842 w 446706"/>
                  <a:gd name="connsiteY10" fmla="*/ 207053 h 333862"/>
                  <a:gd name="connsiteX11" fmla="*/ 382211 w 446706"/>
                  <a:gd name="connsiteY11" fmla="*/ 283485 h 333862"/>
                  <a:gd name="connsiteX12" fmla="*/ 273065 w 446706"/>
                  <a:gd name="connsiteY12" fmla="*/ 319798 h 333862"/>
                  <a:gd name="connsiteX13" fmla="*/ 102834 w 446706"/>
                  <a:gd name="connsiteY13" fmla="*/ 333863 h 333862"/>
                  <a:gd name="connsiteX14" fmla="*/ 102719 w 446706"/>
                  <a:gd name="connsiteY14" fmla="*/ 331788 h 33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6706" h="333862">
                    <a:moveTo>
                      <a:pt x="102603" y="331557"/>
                    </a:moveTo>
                    <a:cubicBezTo>
                      <a:pt x="87851" y="331557"/>
                      <a:pt x="73098" y="332133"/>
                      <a:pt x="58460" y="331557"/>
                    </a:cubicBezTo>
                    <a:cubicBezTo>
                      <a:pt x="30684" y="330289"/>
                      <a:pt x="13857" y="317377"/>
                      <a:pt x="6135" y="290978"/>
                    </a:cubicBezTo>
                    <a:cubicBezTo>
                      <a:pt x="2793" y="279565"/>
                      <a:pt x="-319" y="267461"/>
                      <a:pt x="26" y="255817"/>
                    </a:cubicBezTo>
                    <a:cubicBezTo>
                      <a:pt x="1179" y="217313"/>
                      <a:pt x="1295" y="178463"/>
                      <a:pt x="6942" y="140421"/>
                    </a:cubicBezTo>
                    <a:cubicBezTo>
                      <a:pt x="15010" y="86354"/>
                      <a:pt x="46244" y="47043"/>
                      <a:pt x="98800" y="29405"/>
                    </a:cubicBezTo>
                    <a:cubicBezTo>
                      <a:pt x="130841" y="18684"/>
                      <a:pt x="164495" y="11075"/>
                      <a:pt x="198034" y="7040"/>
                    </a:cubicBezTo>
                    <a:cubicBezTo>
                      <a:pt x="239871" y="1968"/>
                      <a:pt x="282400" y="1968"/>
                      <a:pt x="324584" y="123"/>
                    </a:cubicBezTo>
                    <a:cubicBezTo>
                      <a:pt x="331845" y="-223"/>
                      <a:pt x="339451" y="123"/>
                      <a:pt x="346597" y="1622"/>
                    </a:cubicBezTo>
                    <a:cubicBezTo>
                      <a:pt x="417248" y="15802"/>
                      <a:pt x="442144" y="43239"/>
                      <a:pt x="446523" y="130737"/>
                    </a:cubicBezTo>
                    <a:cubicBezTo>
                      <a:pt x="447791" y="155984"/>
                      <a:pt x="442259" y="182037"/>
                      <a:pt x="436842" y="207053"/>
                    </a:cubicBezTo>
                    <a:cubicBezTo>
                      <a:pt x="429811" y="239793"/>
                      <a:pt x="411025" y="265270"/>
                      <a:pt x="382211" y="283485"/>
                    </a:cubicBezTo>
                    <a:cubicBezTo>
                      <a:pt x="348672" y="304581"/>
                      <a:pt x="311445" y="315418"/>
                      <a:pt x="273065" y="319798"/>
                    </a:cubicBezTo>
                    <a:cubicBezTo>
                      <a:pt x="216590" y="326369"/>
                      <a:pt x="159654" y="329367"/>
                      <a:pt x="102834" y="333863"/>
                    </a:cubicBezTo>
                    <a:cubicBezTo>
                      <a:pt x="102834" y="333171"/>
                      <a:pt x="102834" y="332479"/>
                      <a:pt x="102719" y="33178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2" name="Freeform 311">
                <a:extLst>
                  <a:ext uri="{FF2B5EF4-FFF2-40B4-BE49-F238E27FC236}">
                    <a16:creationId xmlns:a16="http://schemas.microsoft.com/office/drawing/2014/main" id="{5461047E-B9B6-14F9-3734-96337C722668}"/>
                  </a:ext>
                </a:extLst>
              </p:cNvPr>
              <p:cNvSpPr/>
              <p:nvPr/>
            </p:nvSpPr>
            <p:spPr>
              <a:xfrm>
                <a:off x="7973678" y="4745176"/>
                <a:ext cx="359021" cy="402744"/>
              </a:xfrm>
              <a:custGeom>
                <a:avLst/>
                <a:gdLst>
                  <a:gd name="connsiteX0" fmla="*/ 3 w 359021"/>
                  <a:gd name="connsiteY0" fmla="*/ 203881 h 402744"/>
                  <a:gd name="connsiteX1" fmla="*/ 81373 w 359021"/>
                  <a:gd name="connsiteY1" fmla="*/ 20468 h 402744"/>
                  <a:gd name="connsiteX2" fmla="*/ 128166 w 359021"/>
                  <a:gd name="connsiteY2" fmla="*/ 64 h 402744"/>
                  <a:gd name="connsiteX3" fmla="*/ 297821 w 359021"/>
                  <a:gd name="connsiteY3" fmla="*/ 41104 h 402744"/>
                  <a:gd name="connsiteX4" fmla="*/ 346228 w 359021"/>
                  <a:gd name="connsiteY4" fmla="*/ 102087 h 402744"/>
                  <a:gd name="connsiteX5" fmla="*/ 345536 w 359021"/>
                  <a:gd name="connsiteY5" fmla="*/ 284001 h 402744"/>
                  <a:gd name="connsiteX6" fmla="*/ 310038 w 359021"/>
                  <a:gd name="connsiteY6" fmla="*/ 331497 h 402744"/>
                  <a:gd name="connsiteX7" fmla="*/ 143495 w 359021"/>
                  <a:gd name="connsiteY7" fmla="*/ 400551 h 402744"/>
                  <a:gd name="connsiteX8" fmla="*/ 102349 w 359021"/>
                  <a:gd name="connsiteY8" fmla="*/ 402280 h 402744"/>
                  <a:gd name="connsiteX9" fmla="*/ 42762 w 359021"/>
                  <a:gd name="connsiteY9" fmla="*/ 367465 h 402744"/>
                  <a:gd name="connsiteX10" fmla="*/ 3 w 359021"/>
                  <a:gd name="connsiteY10" fmla="*/ 203766 h 40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9021" h="402744">
                    <a:moveTo>
                      <a:pt x="3" y="203881"/>
                    </a:moveTo>
                    <a:cubicBezTo>
                      <a:pt x="1732" y="144280"/>
                      <a:pt x="23169" y="75112"/>
                      <a:pt x="81373" y="20468"/>
                    </a:cubicBezTo>
                    <a:cubicBezTo>
                      <a:pt x="94857" y="7787"/>
                      <a:pt x="109956" y="410"/>
                      <a:pt x="128166" y="64"/>
                    </a:cubicBezTo>
                    <a:cubicBezTo>
                      <a:pt x="188213" y="-1089"/>
                      <a:pt x="244689" y="13436"/>
                      <a:pt x="297821" y="41104"/>
                    </a:cubicBezTo>
                    <a:cubicBezTo>
                      <a:pt x="323062" y="54246"/>
                      <a:pt x="338851" y="75573"/>
                      <a:pt x="346228" y="102087"/>
                    </a:cubicBezTo>
                    <a:cubicBezTo>
                      <a:pt x="362940" y="162610"/>
                      <a:pt x="363862" y="223364"/>
                      <a:pt x="345536" y="284001"/>
                    </a:cubicBezTo>
                    <a:cubicBezTo>
                      <a:pt x="339428" y="304406"/>
                      <a:pt x="327211" y="319508"/>
                      <a:pt x="310038" y="331497"/>
                    </a:cubicBezTo>
                    <a:cubicBezTo>
                      <a:pt x="259556" y="366543"/>
                      <a:pt x="205156" y="392481"/>
                      <a:pt x="143495" y="400551"/>
                    </a:cubicBezTo>
                    <a:cubicBezTo>
                      <a:pt x="129895" y="402280"/>
                      <a:pt x="115949" y="403433"/>
                      <a:pt x="102349" y="402280"/>
                    </a:cubicBezTo>
                    <a:cubicBezTo>
                      <a:pt x="77454" y="400090"/>
                      <a:pt x="57169" y="389369"/>
                      <a:pt x="42762" y="367465"/>
                    </a:cubicBezTo>
                    <a:cubicBezTo>
                      <a:pt x="13718" y="322966"/>
                      <a:pt x="-228" y="274433"/>
                      <a:pt x="3" y="20376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3" name="Freeform 312">
                <a:extLst>
                  <a:ext uri="{FF2B5EF4-FFF2-40B4-BE49-F238E27FC236}">
                    <a16:creationId xmlns:a16="http://schemas.microsoft.com/office/drawing/2014/main" id="{36AC404D-2B4A-7DB0-945B-2887EAB01DD5}"/>
                  </a:ext>
                </a:extLst>
              </p:cNvPr>
              <p:cNvSpPr/>
              <p:nvPr/>
            </p:nvSpPr>
            <p:spPr>
              <a:xfrm>
                <a:off x="6043757" y="3152268"/>
                <a:ext cx="404704" cy="360276"/>
              </a:xfrm>
              <a:custGeom>
                <a:avLst/>
                <a:gdLst>
                  <a:gd name="connsiteX0" fmla="*/ 223348 w 404704"/>
                  <a:gd name="connsiteY0" fmla="*/ 591 h 360276"/>
                  <a:gd name="connsiteX1" fmla="*/ 317857 w 404704"/>
                  <a:gd name="connsiteY1" fmla="*/ 13503 h 360276"/>
                  <a:gd name="connsiteX2" fmla="*/ 390698 w 404704"/>
                  <a:gd name="connsiteY2" fmla="*/ 89934 h 360276"/>
                  <a:gd name="connsiteX3" fmla="*/ 394617 w 404704"/>
                  <a:gd name="connsiteY3" fmla="*/ 252942 h 360276"/>
                  <a:gd name="connsiteX4" fmla="*/ 360616 w 404704"/>
                  <a:gd name="connsiteY4" fmla="*/ 298363 h 360276"/>
                  <a:gd name="connsiteX5" fmla="*/ 182202 w 404704"/>
                  <a:gd name="connsiteY5" fmla="*/ 359808 h 360276"/>
                  <a:gd name="connsiteX6" fmla="*/ 119043 w 404704"/>
                  <a:gd name="connsiteY6" fmla="*/ 338020 h 360276"/>
                  <a:gd name="connsiteX7" fmla="*/ 19117 w 404704"/>
                  <a:gd name="connsiteY7" fmla="*/ 204178 h 360276"/>
                  <a:gd name="connsiteX8" fmla="*/ 63720 w 404704"/>
                  <a:gd name="connsiteY8" fmla="*/ 44052 h 360276"/>
                  <a:gd name="connsiteX9" fmla="*/ 223579 w 404704"/>
                  <a:gd name="connsiteY9" fmla="*/ 822 h 360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4704" h="360276">
                    <a:moveTo>
                      <a:pt x="223348" y="591"/>
                    </a:moveTo>
                    <a:cubicBezTo>
                      <a:pt x="255274" y="-1599"/>
                      <a:pt x="286969" y="2205"/>
                      <a:pt x="317857" y="13503"/>
                    </a:cubicBezTo>
                    <a:cubicBezTo>
                      <a:pt x="355084" y="26991"/>
                      <a:pt x="380325" y="50739"/>
                      <a:pt x="390698" y="89934"/>
                    </a:cubicBezTo>
                    <a:cubicBezTo>
                      <a:pt x="404874" y="144001"/>
                      <a:pt x="411674" y="198068"/>
                      <a:pt x="394617" y="252942"/>
                    </a:cubicBezTo>
                    <a:cubicBezTo>
                      <a:pt x="388623" y="272310"/>
                      <a:pt x="377328" y="287526"/>
                      <a:pt x="360616" y="298363"/>
                    </a:cubicBezTo>
                    <a:cubicBezTo>
                      <a:pt x="306216" y="333409"/>
                      <a:pt x="246399" y="353006"/>
                      <a:pt x="182202" y="359808"/>
                    </a:cubicBezTo>
                    <a:cubicBezTo>
                      <a:pt x="157999" y="362344"/>
                      <a:pt x="137022" y="354505"/>
                      <a:pt x="119043" y="338020"/>
                    </a:cubicBezTo>
                    <a:cubicBezTo>
                      <a:pt x="77205" y="299631"/>
                      <a:pt x="41361" y="256977"/>
                      <a:pt x="19117" y="204178"/>
                    </a:cubicBezTo>
                    <a:cubicBezTo>
                      <a:pt x="-15114" y="123136"/>
                      <a:pt x="-5202" y="95699"/>
                      <a:pt x="63720" y="44052"/>
                    </a:cubicBezTo>
                    <a:cubicBezTo>
                      <a:pt x="110168" y="9353"/>
                      <a:pt x="164799" y="-3443"/>
                      <a:pt x="223579" y="82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4" name="Freeform 313">
                <a:extLst>
                  <a:ext uri="{FF2B5EF4-FFF2-40B4-BE49-F238E27FC236}">
                    <a16:creationId xmlns:a16="http://schemas.microsoft.com/office/drawing/2014/main" id="{B343E296-F3FD-920E-6F3D-C199318FF7AC}"/>
                  </a:ext>
                </a:extLst>
              </p:cNvPr>
              <p:cNvSpPr/>
              <p:nvPr/>
            </p:nvSpPr>
            <p:spPr>
              <a:xfrm>
                <a:off x="7127281" y="3732404"/>
                <a:ext cx="387966" cy="355144"/>
              </a:xfrm>
              <a:custGeom>
                <a:avLst/>
                <a:gdLst>
                  <a:gd name="connsiteX0" fmla="*/ 210540 w 387966"/>
                  <a:gd name="connsiteY0" fmla="*/ 354810 h 355144"/>
                  <a:gd name="connsiteX1" fmla="*/ 93210 w 387966"/>
                  <a:gd name="connsiteY1" fmla="*/ 340861 h 355144"/>
                  <a:gd name="connsiteX2" fmla="*/ 38926 w 387966"/>
                  <a:gd name="connsiteY2" fmla="*/ 293365 h 355144"/>
                  <a:gd name="connsiteX3" fmla="*/ 1237 w 387966"/>
                  <a:gd name="connsiteY3" fmla="*/ 92199 h 355144"/>
                  <a:gd name="connsiteX4" fmla="*/ 48492 w 387966"/>
                  <a:gd name="connsiteY4" fmla="*/ 22223 h 355144"/>
                  <a:gd name="connsiteX5" fmla="*/ 105773 w 387966"/>
                  <a:gd name="connsiteY5" fmla="*/ 3087 h 355144"/>
                  <a:gd name="connsiteX6" fmla="*/ 356683 w 387966"/>
                  <a:gd name="connsiteY6" fmla="*/ 82170 h 355144"/>
                  <a:gd name="connsiteX7" fmla="*/ 387340 w 387966"/>
                  <a:gd name="connsiteY7" fmla="*/ 164250 h 355144"/>
                  <a:gd name="connsiteX8" fmla="*/ 344927 w 387966"/>
                  <a:gd name="connsiteY8" fmla="*/ 300282 h 355144"/>
                  <a:gd name="connsiteX9" fmla="*/ 249265 w 387966"/>
                  <a:gd name="connsiteY9" fmla="*/ 354810 h 355144"/>
                  <a:gd name="connsiteX10" fmla="*/ 210540 w 387966"/>
                  <a:gd name="connsiteY10" fmla="*/ 354810 h 355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7966" h="355144">
                    <a:moveTo>
                      <a:pt x="210540" y="354810"/>
                    </a:moveTo>
                    <a:cubicBezTo>
                      <a:pt x="170662" y="356308"/>
                      <a:pt x="131590" y="352965"/>
                      <a:pt x="93210" y="340861"/>
                    </a:cubicBezTo>
                    <a:cubicBezTo>
                      <a:pt x="67739" y="332791"/>
                      <a:pt x="50336" y="317113"/>
                      <a:pt x="38926" y="293365"/>
                    </a:cubicBezTo>
                    <a:cubicBezTo>
                      <a:pt x="8152" y="229614"/>
                      <a:pt x="-4179" y="162521"/>
                      <a:pt x="1237" y="92199"/>
                    </a:cubicBezTo>
                    <a:cubicBezTo>
                      <a:pt x="3658" y="60266"/>
                      <a:pt x="20369" y="36172"/>
                      <a:pt x="48492" y="22223"/>
                    </a:cubicBezTo>
                    <a:cubicBezTo>
                      <a:pt x="66356" y="13347"/>
                      <a:pt x="86180" y="5392"/>
                      <a:pt x="105773" y="3087"/>
                    </a:cubicBezTo>
                    <a:cubicBezTo>
                      <a:pt x="200858" y="-8326"/>
                      <a:pt x="286838" y="10580"/>
                      <a:pt x="356683" y="82170"/>
                    </a:cubicBezTo>
                    <a:cubicBezTo>
                      <a:pt x="379849" y="105917"/>
                      <a:pt x="390798" y="132317"/>
                      <a:pt x="387340" y="164250"/>
                    </a:cubicBezTo>
                    <a:cubicBezTo>
                      <a:pt x="382154" y="212207"/>
                      <a:pt x="369707" y="258089"/>
                      <a:pt x="344927" y="300282"/>
                    </a:cubicBezTo>
                    <a:cubicBezTo>
                      <a:pt x="323259" y="337287"/>
                      <a:pt x="291449" y="354579"/>
                      <a:pt x="249265" y="354810"/>
                    </a:cubicBezTo>
                    <a:cubicBezTo>
                      <a:pt x="236357" y="354810"/>
                      <a:pt x="223448" y="354810"/>
                      <a:pt x="210540" y="35481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5" name="Freeform 314">
                <a:extLst>
                  <a:ext uri="{FF2B5EF4-FFF2-40B4-BE49-F238E27FC236}">
                    <a16:creationId xmlns:a16="http://schemas.microsoft.com/office/drawing/2014/main" id="{B49D0EB6-1A41-E21C-B98D-F7D30EDBFBD9}"/>
                  </a:ext>
                </a:extLst>
              </p:cNvPr>
              <p:cNvSpPr/>
              <p:nvPr/>
            </p:nvSpPr>
            <p:spPr>
              <a:xfrm>
                <a:off x="9290100" y="3941828"/>
                <a:ext cx="372060" cy="375399"/>
              </a:xfrm>
              <a:custGeom>
                <a:avLst/>
                <a:gdLst>
                  <a:gd name="connsiteX0" fmla="*/ 372060 w 372060"/>
                  <a:gd name="connsiteY0" fmla="*/ 155186 h 375399"/>
                  <a:gd name="connsiteX1" fmla="*/ 280894 w 372060"/>
                  <a:gd name="connsiteY1" fmla="*/ 335832 h 375399"/>
                  <a:gd name="connsiteX2" fmla="*/ 263144 w 372060"/>
                  <a:gd name="connsiteY2" fmla="*/ 348973 h 375399"/>
                  <a:gd name="connsiteX3" fmla="*/ 155842 w 372060"/>
                  <a:gd name="connsiteY3" fmla="*/ 371568 h 375399"/>
                  <a:gd name="connsiteX4" fmla="*/ 249 w 372060"/>
                  <a:gd name="connsiteY4" fmla="*/ 181354 h 375399"/>
                  <a:gd name="connsiteX5" fmla="*/ 74357 w 372060"/>
                  <a:gd name="connsiteY5" fmla="*/ 48320 h 375399"/>
                  <a:gd name="connsiteX6" fmla="*/ 239978 w 372060"/>
                  <a:gd name="connsiteY6" fmla="*/ 2322 h 375399"/>
                  <a:gd name="connsiteX7" fmla="*/ 359728 w 372060"/>
                  <a:gd name="connsiteY7" fmla="*/ 100657 h 375399"/>
                  <a:gd name="connsiteX8" fmla="*/ 371945 w 372060"/>
                  <a:gd name="connsiteY8" fmla="*/ 155301 h 375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2060" h="375399">
                    <a:moveTo>
                      <a:pt x="372060" y="155186"/>
                    </a:moveTo>
                    <a:cubicBezTo>
                      <a:pt x="367796" y="234268"/>
                      <a:pt x="334372" y="290295"/>
                      <a:pt x="280894" y="335832"/>
                    </a:cubicBezTo>
                    <a:cubicBezTo>
                      <a:pt x="275246" y="340558"/>
                      <a:pt x="269369" y="344938"/>
                      <a:pt x="263144" y="348973"/>
                    </a:cubicBezTo>
                    <a:cubicBezTo>
                      <a:pt x="230412" y="370531"/>
                      <a:pt x="194798" y="381829"/>
                      <a:pt x="155842" y="371568"/>
                    </a:cubicBezTo>
                    <a:cubicBezTo>
                      <a:pt x="65022" y="347705"/>
                      <a:pt x="-4707" y="281073"/>
                      <a:pt x="249" y="181354"/>
                    </a:cubicBezTo>
                    <a:cubicBezTo>
                      <a:pt x="3015" y="125097"/>
                      <a:pt x="31137" y="82097"/>
                      <a:pt x="74357" y="48320"/>
                    </a:cubicBezTo>
                    <a:cubicBezTo>
                      <a:pt x="122995" y="10277"/>
                      <a:pt x="178778" y="-6554"/>
                      <a:pt x="239978" y="2322"/>
                    </a:cubicBezTo>
                    <a:cubicBezTo>
                      <a:pt x="298758" y="10738"/>
                      <a:pt x="338175" y="46475"/>
                      <a:pt x="359728" y="100657"/>
                    </a:cubicBezTo>
                    <a:cubicBezTo>
                      <a:pt x="367450" y="119909"/>
                      <a:pt x="369063" y="141582"/>
                      <a:pt x="371945" y="155301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6" name="Freeform 315">
                <a:extLst>
                  <a:ext uri="{FF2B5EF4-FFF2-40B4-BE49-F238E27FC236}">
                    <a16:creationId xmlns:a16="http://schemas.microsoft.com/office/drawing/2014/main" id="{CDDFABB3-E5EA-D579-7EE7-8C91DE2F694A}"/>
                  </a:ext>
                </a:extLst>
              </p:cNvPr>
              <p:cNvSpPr/>
              <p:nvPr/>
            </p:nvSpPr>
            <p:spPr>
              <a:xfrm>
                <a:off x="5297234" y="5219515"/>
                <a:ext cx="338119" cy="471208"/>
              </a:xfrm>
              <a:custGeom>
                <a:avLst/>
                <a:gdLst>
                  <a:gd name="connsiteX0" fmla="*/ 138886 w 338119"/>
                  <a:gd name="connsiteY0" fmla="*/ 28928 h 471208"/>
                  <a:gd name="connsiteX1" fmla="*/ 169198 w 338119"/>
                  <a:gd name="connsiteY1" fmla="*/ 15555 h 471208"/>
                  <a:gd name="connsiteX2" fmla="*/ 235700 w 338119"/>
                  <a:gd name="connsiteY2" fmla="*/ 108 h 471208"/>
                  <a:gd name="connsiteX3" fmla="*/ 326059 w 338119"/>
                  <a:gd name="connsiteY3" fmla="*/ 65933 h 471208"/>
                  <a:gd name="connsiteX4" fmla="*/ 337124 w 338119"/>
                  <a:gd name="connsiteY4" fmla="*/ 130837 h 471208"/>
                  <a:gd name="connsiteX5" fmla="*/ 324100 w 338119"/>
                  <a:gd name="connsiteY5" fmla="*/ 278858 h 471208"/>
                  <a:gd name="connsiteX6" fmla="*/ 303239 w 338119"/>
                  <a:gd name="connsiteY6" fmla="*/ 389874 h 471208"/>
                  <a:gd name="connsiteX7" fmla="*/ 281686 w 338119"/>
                  <a:gd name="connsiteY7" fmla="*/ 440252 h 471208"/>
                  <a:gd name="connsiteX8" fmla="*/ 211381 w 338119"/>
                  <a:gd name="connsiteY8" fmla="*/ 467573 h 471208"/>
                  <a:gd name="connsiteX9" fmla="*/ 173347 w 338119"/>
                  <a:gd name="connsiteY9" fmla="*/ 451780 h 471208"/>
                  <a:gd name="connsiteX10" fmla="*/ 23401 w 338119"/>
                  <a:gd name="connsiteY10" fmla="*/ 300877 h 471208"/>
                  <a:gd name="connsiteX11" fmla="*/ 580 w 338119"/>
                  <a:gd name="connsiteY11" fmla="*/ 205885 h 471208"/>
                  <a:gd name="connsiteX12" fmla="*/ 27665 w 338119"/>
                  <a:gd name="connsiteY12" fmla="*/ 192281 h 471208"/>
                  <a:gd name="connsiteX13" fmla="*/ 134045 w 338119"/>
                  <a:gd name="connsiteY13" fmla="*/ 56711 h 471208"/>
                  <a:gd name="connsiteX14" fmla="*/ 139232 w 338119"/>
                  <a:gd name="connsiteY14" fmla="*/ 29043 h 47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38119" h="471208">
                    <a:moveTo>
                      <a:pt x="138886" y="28928"/>
                    </a:moveTo>
                    <a:cubicBezTo>
                      <a:pt x="149028" y="24547"/>
                      <a:pt x="159286" y="20628"/>
                      <a:pt x="169198" y="15555"/>
                    </a:cubicBezTo>
                    <a:cubicBezTo>
                      <a:pt x="190174" y="4949"/>
                      <a:pt x="212188" y="1145"/>
                      <a:pt x="235700" y="108"/>
                    </a:cubicBezTo>
                    <a:cubicBezTo>
                      <a:pt x="282954" y="-1852"/>
                      <a:pt x="311768" y="23049"/>
                      <a:pt x="326059" y="65933"/>
                    </a:cubicBezTo>
                    <a:cubicBezTo>
                      <a:pt x="332975" y="86569"/>
                      <a:pt x="335280" y="109048"/>
                      <a:pt x="337124" y="130837"/>
                    </a:cubicBezTo>
                    <a:cubicBezTo>
                      <a:pt x="341273" y="180753"/>
                      <a:pt x="331591" y="229863"/>
                      <a:pt x="324100" y="278858"/>
                    </a:cubicBezTo>
                    <a:cubicBezTo>
                      <a:pt x="318453" y="316094"/>
                      <a:pt x="311883" y="353214"/>
                      <a:pt x="303239" y="389874"/>
                    </a:cubicBezTo>
                    <a:cubicBezTo>
                      <a:pt x="299090" y="407396"/>
                      <a:pt x="290906" y="424574"/>
                      <a:pt x="281686" y="440252"/>
                    </a:cubicBezTo>
                    <a:cubicBezTo>
                      <a:pt x="264628" y="469072"/>
                      <a:pt x="243998" y="476681"/>
                      <a:pt x="211381" y="467573"/>
                    </a:cubicBezTo>
                    <a:cubicBezTo>
                      <a:pt x="198242" y="463884"/>
                      <a:pt x="184987" y="458697"/>
                      <a:pt x="173347" y="451780"/>
                    </a:cubicBezTo>
                    <a:cubicBezTo>
                      <a:pt x="110303" y="414544"/>
                      <a:pt x="60167" y="364166"/>
                      <a:pt x="23401" y="300877"/>
                    </a:cubicBezTo>
                    <a:cubicBezTo>
                      <a:pt x="6343" y="271480"/>
                      <a:pt x="-2416" y="240008"/>
                      <a:pt x="580" y="205885"/>
                    </a:cubicBezTo>
                    <a:cubicBezTo>
                      <a:pt x="4845" y="191936"/>
                      <a:pt x="17062" y="193550"/>
                      <a:pt x="27665" y="192281"/>
                    </a:cubicBezTo>
                    <a:cubicBezTo>
                      <a:pt x="100045" y="183751"/>
                      <a:pt x="142343" y="129799"/>
                      <a:pt x="134045" y="56711"/>
                    </a:cubicBezTo>
                    <a:cubicBezTo>
                      <a:pt x="132892" y="47027"/>
                      <a:pt x="128859" y="36652"/>
                      <a:pt x="139232" y="2904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7" name="Freeform 316">
                <a:extLst>
                  <a:ext uri="{FF2B5EF4-FFF2-40B4-BE49-F238E27FC236}">
                    <a16:creationId xmlns:a16="http://schemas.microsoft.com/office/drawing/2014/main" id="{AEE055F3-1294-519B-7D82-78F65B721FD7}"/>
                  </a:ext>
                </a:extLst>
              </p:cNvPr>
              <p:cNvSpPr/>
              <p:nvPr/>
            </p:nvSpPr>
            <p:spPr>
              <a:xfrm>
                <a:off x="9570976" y="77269"/>
                <a:ext cx="409676" cy="377604"/>
              </a:xfrm>
              <a:custGeom>
                <a:avLst/>
                <a:gdLst>
                  <a:gd name="connsiteX0" fmla="*/ 158032 w 409676"/>
                  <a:gd name="connsiteY0" fmla="*/ 0 h 377604"/>
                  <a:gd name="connsiteX1" fmla="*/ 253118 w 409676"/>
                  <a:gd name="connsiteY1" fmla="*/ 40925 h 377604"/>
                  <a:gd name="connsiteX2" fmla="*/ 375633 w 409676"/>
                  <a:gd name="connsiteY2" fmla="*/ 174766 h 377604"/>
                  <a:gd name="connsiteX3" fmla="*/ 397993 w 409676"/>
                  <a:gd name="connsiteY3" fmla="*/ 209466 h 377604"/>
                  <a:gd name="connsiteX4" fmla="*/ 378745 w 409676"/>
                  <a:gd name="connsiteY4" fmla="*/ 305611 h 377604"/>
                  <a:gd name="connsiteX5" fmla="*/ 284236 w 409676"/>
                  <a:gd name="connsiteY5" fmla="*/ 367056 h 377604"/>
                  <a:gd name="connsiteX6" fmla="*/ 192263 w 409676"/>
                  <a:gd name="connsiteY6" fmla="*/ 362444 h 377604"/>
                  <a:gd name="connsiteX7" fmla="*/ 129795 w 409676"/>
                  <a:gd name="connsiteY7" fmla="*/ 308954 h 377604"/>
                  <a:gd name="connsiteX8" fmla="*/ 26527 w 409676"/>
                  <a:gd name="connsiteY8" fmla="*/ 190445 h 377604"/>
                  <a:gd name="connsiteX9" fmla="*/ 22378 w 409676"/>
                  <a:gd name="connsiteY9" fmla="*/ 81504 h 377604"/>
                  <a:gd name="connsiteX10" fmla="*/ 118269 w 409676"/>
                  <a:gd name="connsiteY10" fmla="*/ 9223 h 377604"/>
                  <a:gd name="connsiteX11" fmla="*/ 158032 w 409676"/>
                  <a:gd name="connsiteY11" fmla="*/ 0 h 377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9676" h="377604">
                    <a:moveTo>
                      <a:pt x="158032" y="0"/>
                    </a:moveTo>
                    <a:cubicBezTo>
                      <a:pt x="195952" y="346"/>
                      <a:pt x="225571" y="18099"/>
                      <a:pt x="253118" y="40925"/>
                    </a:cubicBezTo>
                    <a:cubicBezTo>
                      <a:pt x="300257" y="79890"/>
                      <a:pt x="338982" y="126464"/>
                      <a:pt x="375633" y="174766"/>
                    </a:cubicBezTo>
                    <a:cubicBezTo>
                      <a:pt x="383932" y="185718"/>
                      <a:pt x="391423" y="197362"/>
                      <a:pt x="397993" y="209466"/>
                    </a:cubicBezTo>
                    <a:cubicBezTo>
                      <a:pt x="417355" y="244973"/>
                      <a:pt x="413782" y="272525"/>
                      <a:pt x="378745" y="305611"/>
                    </a:cubicBezTo>
                    <a:cubicBezTo>
                      <a:pt x="351430" y="331434"/>
                      <a:pt x="318928" y="351147"/>
                      <a:pt x="284236" y="367056"/>
                    </a:cubicBezTo>
                    <a:cubicBezTo>
                      <a:pt x="252081" y="381812"/>
                      <a:pt x="220846" y="381812"/>
                      <a:pt x="192263" y="362444"/>
                    </a:cubicBezTo>
                    <a:cubicBezTo>
                      <a:pt x="169673" y="347112"/>
                      <a:pt x="148351" y="328898"/>
                      <a:pt x="129795" y="308954"/>
                    </a:cubicBezTo>
                    <a:cubicBezTo>
                      <a:pt x="94182" y="270565"/>
                      <a:pt x="60873" y="230102"/>
                      <a:pt x="26527" y="190445"/>
                    </a:cubicBezTo>
                    <a:cubicBezTo>
                      <a:pt x="-5514" y="153555"/>
                      <a:pt x="-10470" y="116204"/>
                      <a:pt x="22378" y="81504"/>
                    </a:cubicBezTo>
                    <a:cubicBezTo>
                      <a:pt x="49578" y="52799"/>
                      <a:pt x="84961" y="31472"/>
                      <a:pt x="118269" y="9223"/>
                    </a:cubicBezTo>
                    <a:cubicBezTo>
                      <a:pt x="128873" y="2190"/>
                      <a:pt x="144663" y="2882"/>
                      <a:pt x="158032" y="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8" name="Freeform 317">
                <a:extLst>
                  <a:ext uri="{FF2B5EF4-FFF2-40B4-BE49-F238E27FC236}">
                    <a16:creationId xmlns:a16="http://schemas.microsoft.com/office/drawing/2014/main" id="{D96A7789-FC74-381E-AF2E-AE3A2635BFBD}"/>
                  </a:ext>
                </a:extLst>
              </p:cNvPr>
              <p:cNvSpPr/>
              <p:nvPr/>
            </p:nvSpPr>
            <p:spPr>
              <a:xfrm>
                <a:off x="9150381" y="2994066"/>
                <a:ext cx="334446" cy="407900"/>
              </a:xfrm>
              <a:custGeom>
                <a:avLst/>
                <a:gdLst>
                  <a:gd name="connsiteX0" fmla="*/ 510 w 334446"/>
                  <a:gd name="connsiteY0" fmla="*/ 156372 h 407900"/>
                  <a:gd name="connsiteX1" fmla="*/ 59751 w 334446"/>
                  <a:gd name="connsiteY1" fmla="*/ 55270 h 407900"/>
                  <a:gd name="connsiteX2" fmla="*/ 231019 w 334446"/>
                  <a:gd name="connsiteY2" fmla="*/ 166 h 407900"/>
                  <a:gd name="connsiteX3" fmla="*/ 282077 w 334446"/>
                  <a:gd name="connsiteY3" fmla="*/ 9619 h 407900"/>
                  <a:gd name="connsiteX4" fmla="*/ 334402 w 334446"/>
                  <a:gd name="connsiteY4" fmla="*/ 83053 h 407900"/>
                  <a:gd name="connsiteX5" fmla="*/ 305473 w 334446"/>
                  <a:gd name="connsiteY5" fmla="*/ 196720 h 407900"/>
                  <a:gd name="connsiteX6" fmla="*/ 211195 w 334446"/>
                  <a:gd name="connsiteY6" fmla="*/ 352465 h 407900"/>
                  <a:gd name="connsiteX7" fmla="*/ 179731 w 334446"/>
                  <a:gd name="connsiteY7" fmla="*/ 387165 h 407900"/>
                  <a:gd name="connsiteX8" fmla="*/ 91561 w 334446"/>
                  <a:gd name="connsiteY8" fmla="*/ 388664 h 407900"/>
                  <a:gd name="connsiteX9" fmla="*/ 57791 w 334446"/>
                  <a:gd name="connsiteY9" fmla="*/ 345318 h 407900"/>
                  <a:gd name="connsiteX10" fmla="*/ 395 w 334446"/>
                  <a:gd name="connsiteY10" fmla="*/ 156372 h 407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4446" h="407900">
                    <a:moveTo>
                      <a:pt x="510" y="156372"/>
                    </a:moveTo>
                    <a:cubicBezTo>
                      <a:pt x="-3754" y="118444"/>
                      <a:pt x="18951" y="82822"/>
                      <a:pt x="59751" y="55270"/>
                    </a:cubicBezTo>
                    <a:cubicBezTo>
                      <a:pt x="111616" y="20109"/>
                      <a:pt x="169473" y="3739"/>
                      <a:pt x="231019" y="166"/>
                    </a:cubicBezTo>
                    <a:cubicBezTo>
                      <a:pt x="247846" y="-872"/>
                      <a:pt x="266403" y="3048"/>
                      <a:pt x="282077" y="9619"/>
                    </a:cubicBezTo>
                    <a:cubicBezTo>
                      <a:pt x="313772" y="22876"/>
                      <a:pt x="333596" y="45125"/>
                      <a:pt x="334402" y="83053"/>
                    </a:cubicBezTo>
                    <a:cubicBezTo>
                      <a:pt x="335209" y="124208"/>
                      <a:pt x="324837" y="162021"/>
                      <a:pt x="305473" y="196720"/>
                    </a:cubicBezTo>
                    <a:cubicBezTo>
                      <a:pt x="275968" y="249635"/>
                      <a:pt x="243582" y="301050"/>
                      <a:pt x="211195" y="352465"/>
                    </a:cubicBezTo>
                    <a:cubicBezTo>
                      <a:pt x="203013" y="365492"/>
                      <a:pt x="191026" y="376329"/>
                      <a:pt x="179731" y="387165"/>
                    </a:cubicBezTo>
                    <a:cubicBezTo>
                      <a:pt x="152070" y="413910"/>
                      <a:pt x="119914" y="415178"/>
                      <a:pt x="91561" y="388664"/>
                    </a:cubicBezTo>
                    <a:cubicBezTo>
                      <a:pt x="78307" y="376329"/>
                      <a:pt x="67358" y="360881"/>
                      <a:pt x="57791" y="345318"/>
                    </a:cubicBezTo>
                    <a:cubicBezTo>
                      <a:pt x="24944" y="291251"/>
                      <a:pt x="1202" y="233841"/>
                      <a:pt x="395" y="15637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9" name="Freeform 318">
                <a:extLst>
                  <a:ext uri="{FF2B5EF4-FFF2-40B4-BE49-F238E27FC236}">
                    <a16:creationId xmlns:a16="http://schemas.microsoft.com/office/drawing/2014/main" id="{AAF35F90-7647-ADCA-3537-338709480495}"/>
                  </a:ext>
                </a:extLst>
              </p:cNvPr>
              <p:cNvSpPr/>
              <p:nvPr/>
            </p:nvSpPr>
            <p:spPr>
              <a:xfrm>
                <a:off x="9681509" y="820488"/>
                <a:ext cx="356838" cy="355660"/>
              </a:xfrm>
              <a:custGeom>
                <a:avLst/>
                <a:gdLst>
                  <a:gd name="connsiteX0" fmla="*/ 355805 w 356838"/>
                  <a:gd name="connsiteY0" fmla="*/ 174305 h 355660"/>
                  <a:gd name="connsiteX1" fmla="*/ 175201 w 356838"/>
                  <a:gd name="connsiteY1" fmla="*/ 355643 h 355660"/>
                  <a:gd name="connsiteX2" fmla="*/ 130 w 356838"/>
                  <a:gd name="connsiteY2" fmla="*/ 184220 h 355660"/>
                  <a:gd name="connsiteX3" fmla="*/ 183499 w 356838"/>
                  <a:gd name="connsiteY3" fmla="*/ 0 h 355660"/>
                  <a:gd name="connsiteX4" fmla="*/ 355921 w 356838"/>
                  <a:gd name="connsiteY4" fmla="*/ 174305 h 35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838" h="355660">
                    <a:moveTo>
                      <a:pt x="355805" y="174305"/>
                    </a:moveTo>
                    <a:cubicBezTo>
                      <a:pt x="368484" y="248892"/>
                      <a:pt x="261988" y="357257"/>
                      <a:pt x="175201" y="355643"/>
                    </a:cubicBezTo>
                    <a:cubicBezTo>
                      <a:pt x="92218" y="354029"/>
                      <a:pt x="-4019" y="257654"/>
                      <a:pt x="130" y="184220"/>
                    </a:cubicBezTo>
                    <a:cubicBezTo>
                      <a:pt x="5316" y="91072"/>
                      <a:pt x="90720" y="115"/>
                      <a:pt x="183499" y="0"/>
                    </a:cubicBezTo>
                    <a:cubicBezTo>
                      <a:pt x="272476" y="0"/>
                      <a:pt x="366870" y="95453"/>
                      <a:pt x="355921" y="17430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0" name="Freeform 319">
                <a:extLst>
                  <a:ext uri="{FF2B5EF4-FFF2-40B4-BE49-F238E27FC236}">
                    <a16:creationId xmlns:a16="http://schemas.microsoft.com/office/drawing/2014/main" id="{D47A93BF-D244-1183-8D5B-AF00A89EDBC5}"/>
                  </a:ext>
                </a:extLst>
              </p:cNvPr>
              <p:cNvSpPr/>
              <p:nvPr/>
            </p:nvSpPr>
            <p:spPr>
              <a:xfrm>
                <a:off x="8511022" y="1477771"/>
                <a:ext cx="337325" cy="336063"/>
              </a:xfrm>
              <a:custGeom>
                <a:avLst/>
                <a:gdLst>
                  <a:gd name="connsiteX0" fmla="*/ 337326 w 337325"/>
                  <a:gd name="connsiteY0" fmla="*/ 165941 h 336063"/>
                  <a:gd name="connsiteX1" fmla="*/ 261949 w 337325"/>
                  <a:gd name="connsiteY1" fmla="*/ 312924 h 336063"/>
                  <a:gd name="connsiteX2" fmla="*/ 138166 w 337325"/>
                  <a:gd name="connsiteY2" fmla="*/ 324683 h 336063"/>
                  <a:gd name="connsiteX3" fmla="*/ 52301 w 337325"/>
                  <a:gd name="connsiteY3" fmla="*/ 275458 h 336063"/>
                  <a:gd name="connsiteX4" fmla="*/ 4355 w 337325"/>
                  <a:gd name="connsiteY4" fmla="*/ 209171 h 336063"/>
                  <a:gd name="connsiteX5" fmla="*/ 7697 w 337325"/>
                  <a:gd name="connsiteY5" fmla="*/ 155681 h 336063"/>
                  <a:gd name="connsiteX6" fmla="*/ 81806 w 337325"/>
                  <a:gd name="connsiteY6" fmla="*/ 53657 h 336063"/>
                  <a:gd name="connsiteX7" fmla="*/ 152572 w 337325"/>
                  <a:gd name="connsiteY7" fmla="*/ 6391 h 336063"/>
                  <a:gd name="connsiteX8" fmla="*/ 198214 w 337325"/>
                  <a:gd name="connsiteY8" fmla="*/ 3855 h 336063"/>
                  <a:gd name="connsiteX9" fmla="*/ 325800 w 337325"/>
                  <a:gd name="connsiteY9" fmla="*/ 123056 h 336063"/>
                  <a:gd name="connsiteX10" fmla="*/ 337211 w 337325"/>
                  <a:gd name="connsiteY10" fmla="*/ 165941 h 336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7325" h="336063">
                    <a:moveTo>
                      <a:pt x="337326" y="165941"/>
                    </a:moveTo>
                    <a:cubicBezTo>
                      <a:pt x="331217" y="228769"/>
                      <a:pt x="310932" y="279147"/>
                      <a:pt x="261949" y="312924"/>
                    </a:cubicBezTo>
                    <a:cubicBezTo>
                      <a:pt x="223685" y="339439"/>
                      <a:pt x="180349" y="342897"/>
                      <a:pt x="138166" y="324683"/>
                    </a:cubicBezTo>
                    <a:cubicBezTo>
                      <a:pt x="108084" y="311656"/>
                      <a:pt x="79731" y="293788"/>
                      <a:pt x="52301" y="275458"/>
                    </a:cubicBezTo>
                    <a:cubicBezTo>
                      <a:pt x="28789" y="259780"/>
                      <a:pt x="15420" y="234994"/>
                      <a:pt x="4355" y="209171"/>
                    </a:cubicBezTo>
                    <a:cubicBezTo>
                      <a:pt x="-3597" y="190496"/>
                      <a:pt x="436" y="172973"/>
                      <a:pt x="7697" y="155681"/>
                    </a:cubicBezTo>
                    <a:cubicBezTo>
                      <a:pt x="24294" y="115793"/>
                      <a:pt x="51495" y="83515"/>
                      <a:pt x="81806" y="53657"/>
                    </a:cubicBezTo>
                    <a:cubicBezTo>
                      <a:pt x="102322" y="33482"/>
                      <a:pt x="126064" y="17804"/>
                      <a:pt x="152572" y="6391"/>
                    </a:cubicBezTo>
                    <a:cubicBezTo>
                      <a:pt x="167671" y="-64"/>
                      <a:pt x="183231" y="-2831"/>
                      <a:pt x="198214" y="3855"/>
                    </a:cubicBezTo>
                    <a:cubicBezTo>
                      <a:pt x="254227" y="28987"/>
                      <a:pt x="302403" y="63110"/>
                      <a:pt x="325800" y="123056"/>
                    </a:cubicBezTo>
                    <a:cubicBezTo>
                      <a:pt x="331793" y="138273"/>
                      <a:pt x="334329" y="154874"/>
                      <a:pt x="337211" y="165941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1" name="Freeform 320">
                <a:extLst>
                  <a:ext uri="{FF2B5EF4-FFF2-40B4-BE49-F238E27FC236}">
                    <a16:creationId xmlns:a16="http://schemas.microsoft.com/office/drawing/2014/main" id="{F8A17639-21E8-3AA6-756C-E59546DBF5DC}"/>
                  </a:ext>
                </a:extLst>
              </p:cNvPr>
              <p:cNvSpPr/>
              <p:nvPr/>
            </p:nvSpPr>
            <p:spPr>
              <a:xfrm>
                <a:off x="11065616" y="2682"/>
                <a:ext cx="570048" cy="232813"/>
              </a:xfrm>
              <a:custGeom>
                <a:avLst/>
                <a:gdLst>
                  <a:gd name="connsiteX0" fmla="*/ 0 w 570048"/>
                  <a:gd name="connsiteY0" fmla="*/ 692 h 232813"/>
                  <a:gd name="connsiteX1" fmla="*/ 280875 w 570048"/>
                  <a:gd name="connsiteY1" fmla="*/ 0 h 232813"/>
                  <a:gd name="connsiteX2" fmla="*/ 570049 w 570048"/>
                  <a:gd name="connsiteY2" fmla="*/ 576 h 232813"/>
                  <a:gd name="connsiteX3" fmla="*/ 502510 w 570048"/>
                  <a:gd name="connsiteY3" fmla="*/ 130037 h 232813"/>
                  <a:gd name="connsiteX4" fmla="*/ 460096 w 570048"/>
                  <a:gd name="connsiteY4" fmla="*/ 194018 h 232813"/>
                  <a:gd name="connsiteX5" fmla="*/ 319947 w 570048"/>
                  <a:gd name="connsiteY5" fmla="*/ 215461 h 232813"/>
                  <a:gd name="connsiteX6" fmla="*/ 19823 w 570048"/>
                  <a:gd name="connsiteY6" fmla="*/ 19713 h 232813"/>
                  <a:gd name="connsiteX7" fmla="*/ 115 w 570048"/>
                  <a:gd name="connsiteY7" fmla="*/ 692 h 23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0048" h="232813">
                    <a:moveTo>
                      <a:pt x="0" y="692"/>
                    </a:moveTo>
                    <a:cubicBezTo>
                      <a:pt x="93587" y="461"/>
                      <a:pt x="187289" y="0"/>
                      <a:pt x="280875" y="0"/>
                    </a:cubicBezTo>
                    <a:cubicBezTo>
                      <a:pt x="377228" y="0"/>
                      <a:pt x="473696" y="346"/>
                      <a:pt x="570049" y="576"/>
                    </a:cubicBezTo>
                    <a:cubicBezTo>
                      <a:pt x="547690" y="43807"/>
                      <a:pt x="526022" y="87383"/>
                      <a:pt x="502510" y="130037"/>
                    </a:cubicBezTo>
                    <a:cubicBezTo>
                      <a:pt x="490178" y="152402"/>
                      <a:pt x="477038" y="175228"/>
                      <a:pt x="460096" y="194018"/>
                    </a:cubicBezTo>
                    <a:cubicBezTo>
                      <a:pt x="421371" y="236903"/>
                      <a:pt x="370082" y="244512"/>
                      <a:pt x="319947" y="215461"/>
                    </a:cubicBezTo>
                    <a:cubicBezTo>
                      <a:pt x="216563" y="155399"/>
                      <a:pt x="113872" y="94070"/>
                      <a:pt x="19823" y="19713"/>
                    </a:cubicBezTo>
                    <a:cubicBezTo>
                      <a:pt x="12678" y="14064"/>
                      <a:pt x="6570" y="7032"/>
                      <a:pt x="115" y="69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2" name="Freeform 321">
                <a:extLst>
                  <a:ext uri="{FF2B5EF4-FFF2-40B4-BE49-F238E27FC236}">
                    <a16:creationId xmlns:a16="http://schemas.microsoft.com/office/drawing/2014/main" id="{870333C1-9CE2-7AFD-A662-27E225298B36}"/>
                  </a:ext>
                </a:extLst>
              </p:cNvPr>
              <p:cNvSpPr/>
              <p:nvPr/>
            </p:nvSpPr>
            <p:spPr>
              <a:xfrm>
                <a:off x="6734634" y="5699793"/>
                <a:ext cx="294217" cy="296764"/>
              </a:xfrm>
              <a:custGeom>
                <a:avLst/>
                <a:gdLst>
                  <a:gd name="connsiteX0" fmla="*/ 179050 w 294217"/>
                  <a:gd name="connsiteY0" fmla="*/ 322 h 296764"/>
                  <a:gd name="connsiteX1" fmla="*/ 290962 w 294217"/>
                  <a:gd name="connsiteY1" fmla="*/ 158373 h 296764"/>
                  <a:gd name="connsiteX2" fmla="*/ 200487 w 294217"/>
                  <a:gd name="connsiteY2" fmla="*/ 281954 h 296764"/>
                  <a:gd name="connsiteX3" fmla="*/ 114738 w 294217"/>
                  <a:gd name="connsiteY3" fmla="*/ 291523 h 296764"/>
                  <a:gd name="connsiteX4" fmla="*/ 1442 w 294217"/>
                  <a:gd name="connsiteY4" fmla="*/ 166212 h 296764"/>
                  <a:gd name="connsiteX5" fmla="*/ 19653 w 294217"/>
                  <a:gd name="connsiteY5" fmla="*/ 84362 h 296764"/>
                  <a:gd name="connsiteX6" fmla="*/ 179050 w 294217"/>
                  <a:gd name="connsiteY6" fmla="*/ 437 h 296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4217" h="296764">
                    <a:moveTo>
                      <a:pt x="179050" y="322"/>
                    </a:moveTo>
                    <a:cubicBezTo>
                      <a:pt x="247281" y="-5672"/>
                      <a:pt x="309287" y="72949"/>
                      <a:pt x="290962" y="158373"/>
                    </a:cubicBezTo>
                    <a:cubicBezTo>
                      <a:pt x="279437" y="212325"/>
                      <a:pt x="247165" y="253249"/>
                      <a:pt x="200487" y="281954"/>
                    </a:cubicBezTo>
                    <a:cubicBezTo>
                      <a:pt x="173863" y="298324"/>
                      <a:pt x="142860" y="300514"/>
                      <a:pt x="114738" y="291523"/>
                    </a:cubicBezTo>
                    <a:cubicBezTo>
                      <a:pt x="47083" y="270081"/>
                      <a:pt x="11470" y="231346"/>
                      <a:pt x="1442" y="166212"/>
                    </a:cubicBezTo>
                    <a:cubicBezTo>
                      <a:pt x="-3052" y="137046"/>
                      <a:pt x="2941" y="108456"/>
                      <a:pt x="19653" y="84362"/>
                    </a:cubicBezTo>
                    <a:cubicBezTo>
                      <a:pt x="55036" y="33177"/>
                      <a:pt x="102751" y="1821"/>
                      <a:pt x="179050" y="437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3" name="Freeform 322">
                <a:extLst>
                  <a:ext uri="{FF2B5EF4-FFF2-40B4-BE49-F238E27FC236}">
                    <a16:creationId xmlns:a16="http://schemas.microsoft.com/office/drawing/2014/main" id="{F382198B-7A00-5138-A13A-4EBAEAA549A8}"/>
                  </a:ext>
                </a:extLst>
              </p:cNvPr>
              <p:cNvSpPr/>
              <p:nvPr/>
            </p:nvSpPr>
            <p:spPr>
              <a:xfrm>
                <a:off x="5838323" y="3968933"/>
                <a:ext cx="243587" cy="240146"/>
              </a:xfrm>
              <a:custGeom>
                <a:avLst/>
                <a:gdLst>
                  <a:gd name="connsiteX0" fmla="*/ 116096 w 243587"/>
                  <a:gd name="connsiteY0" fmla="*/ 240018 h 240146"/>
                  <a:gd name="connsiteX1" fmla="*/ 35 w 243587"/>
                  <a:gd name="connsiteY1" fmla="*/ 117128 h 240146"/>
                  <a:gd name="connsiteX2" fmla="*/ 119324 w 243587"/>
                  <a:gd name="connsiteY2" fmla="*/ 2 h 240146"/>
                  <a:gd name="connsiteX3" fmla="*/ 243568 w 243587"/>
                  <a:gd name="connsiteY3" fmla="*/ 117243 h 240146"/>
                  <a:gd name="connsiteX4" fmla="*/ 116212 w 243587"/>
                  <a:gd name="connsiteY4" fmla="*/ 240133 h 240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3587" h="240146">
                    <a:moveTo>
                      <a:pt x="116096" y="240018"/>
                    </a:moveTo>
                    <a:cubicBezTo>
                      <a:pt x="52706" y="240018"/>
                      <a:pt x="2456" y="183991"/>
                      <a:pt x="35" y="117128"/>
                    </a:cubicBezTo>
                    <a:cubicBezTo>
                      <a:pt x="-1809" y="65021"/>
                      <a:pt x="69073" y="463"/>
                      <a:pt x="119324" y="2"/>
                    </a:cubicBezTo>
                    <a:cubicBezTo>
                      <a:pt x="173148" y="-459"/>
                      <a:pt x="244951" y="68940"/>
                      <a:pt x="243568" y="117243"/>
                    </a:cubicBezTo>
                    <a:cubicBezTo>
                      <a:pt x="241609" y="180648"/>
                      <a:pt x="187785" y="241171"/>
                      <a:pt x="116212" y="24013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4" name="Freeform 323">
                <a:extLst>
                  <a:ext uri="{FF2B5EF4-FFF2-40B4-BE49-F238E27FC236}">
                    <a16:creationId xmlns:a16="http://schemas.microsoft.com/office/drawing/2014/main" id="{1CF0B1C0-D825-95E6-14EE-0A4C42E3606D}"/>
                  </a:ext>
                </a:extLst>
              </p:cNvPr>
              <p:cNvSpPr/>
              <p:nvPr/>
            </p:nvSpPr>
            <p:spPr>
              <a:xfrm>
                <a:off x="5091277" y="5690066"/>
                <a:ext cx="178613" cy="181244"/>
              </a:xfrm>
              <a:custGeom>
                <a:avLst/>
                <a:gdLst>
                  <a:gd name="connsiteX0" fmla="*/ 178300 w 178613"/>
                  <a:gd name="connsiteY0" fmla="*/ 88095 h 181244"/>
                  <a:gd name="connsiteX1" fmla="*/ 87710 w 178613"/>
                  <a:gd name="connsiteY1" fmla="*/ 181242 h 181244"/>
                  <a:gd name="connsiteX2" fmla="*/ 1 w 178613"/>
                  <a:gd name="connsiteY2" fmla="*/ 91784 h 181244"/>
                  <a:gd name="connsiteX3" fmla="*/ 91398 w 178613"/>
                  <a:gd name="connsiteY3" fmla="*/ 20 h 181244"/>
                  <a:gd name="connsiteX4" fmla="*/ 178300 w 178613"/>
                  <a:gd name="connsiteY4" fmla="*/ 88210 h 181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613" h="181244">
                    <a:moveTo>
                      <a:pt x="178300" y="88095"/>
                    </a:moveTo>
                    <a:cubicBezTo>
                      <a:pt x="182910" y="131671"/>
                      <a:pt x="136001" y="180781"/>
                      <a:pt x="87710" y="181242"/>
                    </a:cubicBezTo>
                    <a:cubicBezTo>
                      <a:pt x="50367" y="181588"/>
                      <a:pt x="231" y="143199"/>
                      <a:pt x="1" y="91784"/>
                    </a:cubicBezTo>
                    <a:cubicBezTo>
                      <a:pt x="-230" y="47977"/>
                      <a:pt x="43682" y="-1133"/>
                      <a:pt x="91398" y="20"/>
                    </a:cubicBezTo>
                    <a:cubicBezTo>
                      <a:pt x="138767" y="1173"/>
                      <a:pt x="178184" y="39907"/>
                      <a:pt x="178300" y="8821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  <p:grpSp>
          <p:nvGrpSpPr>
            <p:cNvPr id="325" name="Group 324">
              <a:extLst>
                <a:ext uri="{FF2B5EF4-FFF2-40B4-BE49-F238E27FC236}">
                  <a16:creationId xmlns:a16="http://schemas.microsoft.com/office/drawing/2014/main" id="{F5BFF4D9-71A1-484B-1F01-75236E7383BF}"/>
                </a:ext>
              </a:extLst>
            </p:cNvPr>
            <p:cNvGrpSpPr/>
            <p:nvPr userDrawn="1"/>
          </p:nvGrpSpPr>
          <p:grpSpPr>
            <a:xfrm>
              <a:off x="4441587" y="3374"/>
              <a:ext cx="7303455" cy="6853473"/>
              <a:chOff x="4441587" y="3374"/>
              <a:chExt cx="7303455" cy="6853473"/>
            </a:xfrm>
            <a:solidFill>
              <a:srgbClr val="FCCCA2"/>
            </a:solidFill>
          </p:grpSpPr>
          <p:sp>
            <p:nvSpPr>
              <p:cNvPr id="326" name="Freeform 325">
                <a:extLst>
                  <a:ext uri="{FF2B5EF4-FFF2-40B4-BE49-F238E27FC236}">
                    <a16:creationId xmlns:a16="http://schemas.microsoft.com/office/drawing/2014/main" id="{422EC3BE-F306-BE9B-16CF-E4EF547AADBF}"/>
                  </a:ext>
                </a:extLst>
              </p:cNvPr>
              <p:cNvSpPr/>
              <p:nvPr/>
            </p:nvSpPr>
            <p:spPr>
              <a:xfrm>
                <a:off x="11274907" y="509313"/>
                <a:ext cx="470135" cy="463578"/>
              </a:xfrm>
              <a:custGeom>
                <a:avLst/>
                <a:gdLst>
                  <a:gd name="connsiteX0" fmla="*/ 230175 w 470135"/>
                  <a:gd name="connsiteY0" fmla="*/ 30 h 463578"/>
                  <a:gd name="connsiteX1" fmla="*/ 469905 w 470135"/>
                  <a:gd name="connsiteY1" fmla="*/ 226788 h 463578"/>
                  <a:gd name="connsiteX2" fmla="*/ 462644 w 470135"/>
                  <a:gd name="connsiteY2" fmla="*/ 306102 h 463578"/>
                  <a:gd name="connsiteX3" fmla="*/ 289186 w 470135"/>
                  <a:gd name="connsiteY3" fmla="*/ 458619 h 463578"/>
                  <a:gd name="connsiteX4" fmla="*/ 171280 w 470135"/>
                  <a:gd name="connsiteY4" fmla="*/ 456314 h 463578"/>
                  <a:gd name="connsiteX5" fmla="*/ 43578 w 470135"/>
                  <a:gd name="connsiteY5" fmla="*/ 366855 h 463578"/>
                  <a:gd name="connsiteX6" fmla="*/ 1394 w 470135"/>
                  <a:gd name="connsiteY6" fmla="*/ 253764 h 463578"/>
                  <a:gd name="connsiteX7" fmla="*/ 934 w 470135"/>
                  <a:gd name="connsiteY7" fmla="*/ 229094 h 463578"/>
                  <a:gd name="connsiteX8" fmla="*/ 78961 w 470135"/>
                  <a:gd name="connsiteY8" fmla="*/ 64126 h 463578"/>
                  <a:gd name="connsiteX9" fmla="*/ 230175 w 470135"/>
                  <a:gd name="connsiteY9" fmla="*/ 30 h 463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0135" h="463578">
                    <a:moveTo>
                      <a:pt x="230175" y="30"/>
                    </a:moveTo>
                    <a:cubicBezTo>
                      <a:pt x="368826" y="-662"/>
                      <a:pt x="464833" y="91448"/>
                      <a:pt x="469905" y="226788"/>
                    </a:cubicBezTo>
                    <a:cubicBezTo>
                      <a:pt x="470827" y="253188"/>
                      <a:pt x="469098" y="280625"/>
                      <a:pt x="462644" y="306102"/>
                    </a:cubicBezTo>
                    <a:cubicBezTo>
                      <a:pt x="439938" y="395791"/>
                      <a:pt x="377009" y="442249"/>
                      <a:pt x="289186" y="458619"/>
                    </a:cubicBezTo>
                    <a:cubicBezTo>
                      <a:pt x="249883" y="465997"/>
                      <a:pt x="210466" y="465075"/>
                      <a:pt x="171280" y="456314"/>
                    </a:cubicBezTo>
                    <a:cubicBezTo>
                      <a:pt x="116304" y="443978"/>
                      <a:pt x="74005" y="413890"/>
                      <a:pt x="43578" y="366855"/>
                    </a:cubicBezTo>
                    <a:cubicBezTo>
                      <a:pt x="21334" y="332271"/>
                      <a:pt x="8310" y="294113"/>
                      <a:pt x="1394" y="253764"/>
                    </a:cubicBezTo>
                    <a:cubicBezTo>
                      <a:pt x="11" y="245694"/>
                      <a:pt x="-680" y="236933"/>
                      <a:pt x="934" y="229094"/>
                    </a:cubicBezTo>
                    <a:cubicBezTo>
                      <a:pt x="13381" y="167764"/>
                      <a:pt x="35164" y="110585"/>
                      <a:pt x="78961" y="64126"/>
                    </a:cubicBezTo>
                    <a:cubicBezTo>
                      <a:pt x="121144" y="19397"/>
                      <a:pt x="173816" y="-892"/>
                      <a:pt x="230175" y="3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7" name="Freeform 326">
                <a:extLst>
                  <a:ext uri="{FF2B5EF4-FFF2-40B4-BE49-F238E27FC236}">
                    <a16:creationId xmlns:a16="http://schemas.microsoft.com/office/drawing/2014/main" id="{006016BB-F32F-314C-23B6-38E1639BEB5B}"/>
                  </a:ext>
                </a:extLst>
              </p:cNvPr>
              <p:cNvSpPr/>
              <p:nvPr/>
            </p:nvSpPr>
            <p:spPr>
              <a:xfrm>
                <a:off x="7013668" y="1011784"/>
                <a:ext cx="452157" cy="452664"/>
              </a:xfrm>
              <a:custGeom>
                <a:avLst/>
                <a:gdLst>
                  <a:gd name="connsiteX0" fmla="*/ 247970 w 452157"/>
                  <a:gd name="connsiteY0" fmla="*/ 452665 h 452664"/>
                  <a:gd name="connsiteX1" fmla="*/ 202560 w 452157"/>
                  <a:gd name="connsiteY1" fmla="*/ 443557 h 452664"/>
                  <a:gd name="connsiteX2" fmla="*/ 173976 w 452157"/>
                  <a:gd name="connsiteY2" fmla="*/ 423729 h 452664"/>
                  <a:gd name="connsiteX3" fmla="*/ 22762 w 452157"/>
                  <a:gd name="connsiteY3" fmla="*/ 189823 h 452664"/>
                  <a:gd name="connsiteX4" fmla="*/ 6857 w 452157"/>
                  <a:gd name="connsiteY4" fmla="*/ 154547 h 452664"/>
                  <a:gd name="connsiteX5" fmla="*/ 37746 w 452157"/>
                  <a:gd name="connsiteY5" fmla="*/ 65665 h 452664"/>
                  <a:gd name="connsiteX6" fmla="*/ 191495 w 452157"/>
                  <a:gd name="connsiteY6" fmla="*/ 4681 h 452664"/>
                  <a:gd name="connsiteX7" fmla="*/ 292112 w 452157"/>
                  <a:gd name="connsiteY7" fmla="*/ 39266 h 452664"/>
                  <a:gd name="connsiteX8" fmla="*/ 349048 w 452157"/>
                  <a:gd name="connsiteY8" fmla="*/ 120654 h 452664"/>
                  <a:gd name="connsiteX9" fmla="*/ 437794 w 452157"/>
                  <a:gd name="connsiteY9" fmla="*/ 276745 h 452664"/>
                  <a:gd name="connsiteX10" fmla="*/ 448282 w 452157"/>
                  <a:gd name="connsiteY10" fmla="*/ 302223 h 452664"/>
                  <a:gd name="connsiteX11" fmla="*/ 419008 w 452157"/>
                  <a:gd name="connsiteY11" fmla="*/ 383842 h 452664"/>
                  <a:gd name="connsiteX12" fmla="*/ 294879 w 452157"/>
                  <a:gd name="connsiteY12" fmla="*/ 443788 h 452664"/>
                  <a:gd name="connsiteX13" fmla="*/ 248200 w 452157"/>
                  <a:gd name="connsiteY13" fmla="*/ 452549 h 452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52157" h="452664">
                    <a:moveTo>
                      <a:pt x="247970" y="452665"/>
                    </a:moveTo>
                    <a:cubicBezTo>
                      <a:pt x="232987" y="449898"/>
                      <a:pt x="217082" y="448745"/>
                      <a:pt x="202560" y="443557"/>
                    </a:cubicBezTo>
                    <a:cubicBezTo>
                      <a:pt x="191956" y="439753"/>
                      <a:pt x="180777" y="432606"/>
                      <a:pt x="173976" y="423729"/>
                    </a:cubicBezTo>
                    <a:cubicBezTo>
                      <a:pt x="116810" y="350180"/>
                      <a:pt x="63447" y="273979"/>
                      <a:pt x="22762" y="189823"/>
                    </a:cubicBezTo>
                    <a:cubicBezTo>
                      <a:pt x="17115" y="178180"/>
                      <a:pt x="11467" y="166652"/>
                      <a:pt x="6857" y="154547"/>
                    </a:cubicBezTo>
                    <a:cubicBezTo>
                      <a:pt x="-8011" y="116043"/>
                      <a:pt x="864" y="82957"/>
                      <a:pt x="37746" y="65665"/>
                    </a:cubicBezTo>
                    <a:cubicBezTo>
                      <a:pt x="87535" y="42263"/>
                      <a:pt x="139169" y="21743"/>
                      <a:pt x="191495" y="4681"/>
                    </a:cubicBezTo>
                    <a:cubicBezTo>
                      <a:pt x="231027" y="-8230"/>
                      <a:pt x="266526" y="6295"/>
                      <a:pt x="292112" y="39266"/>
                    </a:cubicBezTo>
                    <a:cubicBezTo>
                      <a:pt x="312397" y="65435"/>
                      <a:pt x="332106" y="92295"/>
                      <a:pt x="349048" y="120654"/>
                    </a:cubicBezTo>
                    <a:cubicBezTo>
                      <a:pt x="379821" y="171955"/>
                      <a:pt x="408519" y="224523"/>
                      <a:pt x="437794" y="276745"/>
                    </a:cubicBezTo>
                    <a:cubicBezTo>
                      <a:pt x="442289" y="284700"/>
                      <a:pt x="445631" y="293461"/>
                      <a:pt x="448282" y="302223"/>
                    </a:cubicBezTo>
                    <a:cubicBezTo>
                      <a:pt x="458194" y="335885"/>
                      <a:pt x="449320" y="366895"/>
                      <a:pt x="419008" y="383842"/>
                    </a:cubicBezTo>
                    <a:cubicBezTo>
                      <a:pt x="379014" y="406322"/>
                      <a:pt x="336946" y="425343"/>
                      <a:pt x="294879" y="443788"/>
                    </a:cubicBezTo>
                    <a:cubicBezTo>
                      <a:pt x="281048" y="449898"/>
                      <a:pt x="264451" y="449667"/>
                      <a:pt x="248200" y="45254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8" name="Freeform 327">
                <a:extLst>
                  <a:ext uri="{FF2B5EF4-FFF2-40B4-BE49-F238E27FC236}">
                    <a16:creationId xmlns:a16="http://schemas.microsoft.com/office/drawing/2014/main" id="{890D754A-CC05-8E0B-E5CA-A48847CFD91E}"/>
                  </a:ext>
                </a:extLst>
              </p:cNvPr>
              <p:cNvSpPr/>
              <p:nvPr/>
            </p:nvSpPr>
            <p:spPr>
              <a:xfrm>
                <a:off x="5140254" y="4346021"/>
                <a:ext cx="429896" cy="380585"/>
              </a:xfrm>
              <a:custGeom>
                <a:avLst/>
                <a:gdLst>
                  <a:gd name="connsiteX0" fmla="*/ 205506 w 429896"/>
                  <a:gd name="connsiteY0" fmla="*/ 0 h 380585"/>
                  <a:gd name="connsiteX1" fmla="*/ 396482 w 429896"/>
                  <a:gd name="connsiteY1" fmla="*/ 67901 h 380585"/>
                  <a:gd name="connsiteX2" fmla="*/ 429676 w 429896"/>
                  <a:gd name="connsiteY2" fmla="*/ 134648 h 380585"/>
                  <a:gd name="connsiteX3" fmla="*/ 395330 w 429896"/>
                  <a:gd name="connsiteY3" fmla="*/ 306187 h 380585"/>
                  <a:gd name="connsiteX4" fmla="*/ 336089 w 429896"/>
                  <a:gd name="connsiteY4" fmla="*/ 360485 h 380585"/>
                  <a:gd name="connsiteX5" fmla="*/ 142922 w 429896"/>
                  <a:gd name="connsiteY5" fmla="*/ 372704 h 380585"/>
                  <a:gd name="connsiteX6" fmla="*/ 88176 w 429896"/>
                  <a:gd name="connsiteY6" fmla="*/ 338351 h 380585"/>
                  <a:gd name="connsiteX7" fmla="*/ 20176 w 429896"/>
                  <a:gd name="connsiteY7" fmla="*/ 222032 h 380585"/>
                  <a:gd name="connsiteX8" fmla="*/ 4386 w 429896"/>
                  <a:gd name="connsiteY8" fmla="*/ 169233 h 380585"/>
                  <a:gd name="connsiteX9" fmla="*/ 67546 w 429896"/>
                  <a:gd name="connsiteY9" fmla="*/ 33316 h 380585"/>
                  <a:gd name="connsiteX10" fmla="*/ 205506 w 429896"/>
                  <a:gd name="connsiteY10" fmla="*/ 115 h 380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9896" h="380585">
                    <a:moveTo>
                      <a:pt x="205506" y="0"/>
                    </a:moveTo>
                    <a:cubicBezTo>
                      <a:pt x="277194" y="115"/>
                      <a:pt x="340930" y="21903"/>
                      <a:pt x="396482" y="67901"/>
                    </a:cubicBezTo>
                    <a:cubicBezTo>
                      <a:pt x="417689" y="85539"/>
                      <a:pt x="428754" y="106981"/>
                      <a:pt x="429676" y="134648"/>
                    </a:cubicBezTo>
                    <a:cubicBezTo>
                      <a:pt x="431635" y="194595"/>
                      <a:pt x="420571" y="251774"/>
                      <a:pt x="395330" y="306187"/>
                    </a:cubicBezTo>
                    <a:cubicBezTo>
                      <a:pt x="383113" y="332587"/>
                      <a:pt x="363750" y="351031"/>
                      <a:pt x="336089" y="360485"/>
                    </a:cubicBezTo>
                    <a:cubicBezTo>
                      <a:pt x="272814" y="382157"/>
                      <a:pt x="208502" y="386423"/>
                      <a:pt x="142922" y="372704"/>
                    </a:cubicBezTo>
                    <a:cubicBezTo>
                      <a:pt x="120332" y="367978"/>
                      <a:pt x="102583" y="356565"/>
                      <a:pt x="88176" y="338351"/>
                    </a:cubicBezTo>
                    <a:cubicBezTo>
                      <a:pt x="60170" y="302613"/>
                      <a:pt x="36657" y="264340"/>
                      <a:pt x="20176" y="222032"/>
                    </a:cubicBezTo>
                    <a:cubicBezTo>
                      <a:pt x="13491" y="204970"/>
                      <a:pt x="7383" y="187217"/>
                      <a:pt x="4386" y="169233"/>
                    </a:cubicBezTo>
                    <a:cubicBezTo>
                      <a:pt x="-10021" y="83348"/>
                      <a:pt x="11071" y="65941"/>
                      <a:pt x="67546" y="33316"/>
                    </a:cubicBezTo>
                    <a:cubicBezTo>
                      <a:pt x="107770" y="10145"/>
                      <a:pt x="152949" y="115"/>
                      <a:pt x="205506" y="11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9" name="Freeform 328">
                <a:extLst>
                  <a:ext uri="{FF2B5EF4-FFF2-40B4-BE49-F238E27FC236}">
                    <a16:creationId xmlns:a16="http://schemas.microsoft.com/office/drawing/2014/main" id="{44F1FAEC-A0FC-3902-60F2-84D1E4C389D5}"/>
                  </a:ext>
                </a:extLst>
              </p:cNvPr>
              <p:cNvSpPr/>
              <p:nvPr/>
            </p:nvSpPr>
            <p:spPr>
              <a:xfrm>
                <a:off x="7400980" y="3003606"/>
                <a:ext cx="362787" cy="329770"/>
              </a:xfrm>
              <a:custGeom>
                <a:avLst/>
                <a:gdLst>
                  <a:gd name="connsiteX0" fmla="*/ 2881 w 362787"/>
                  <a:gd name="connsiteY0" fmla="*/ 114438 h 329770"/>
                  <a:gd name="connsiteX1" fmla="*/ 3227 w 362787"/>
                  <a:gd name="connsiteY1" fmla="*/ 51033 h 329770"/>
                  <a:gd name="connsiteX2" fmla="*/ 80448 w 362787"/>
                  <a:gd name="connsiteY2" fmla="*/ 6420 h 329770"/>
                  <a:gd name="connsiteX3" fmla="*/ 102000 w 362787"/>
                  <a:gd name="connsiteY3" fmla="*/ 18639 h 329770"/>
                  <a:gd name="connsiteX4" fmla="*/ 324442 w 362787"/>
                  <a:gd name="connsiteY4" fmla="*/ 177036 h 329770"/>
                  <a:gd name="connsiteX5" fmla="*/ 353255 w 362787"/>
                  <a:gd name="connsiteY5" fmla="*/ 206317 h 329770"/>
                  <a:gd name="connsiteX6" fmla="*/ 347378 w 362787"/>
                  <a:gd name="connsiteY6" fmla="*/ 266264 h 329770"/>
                  <a:gd name="connsiteX7" fmla="*/ 287215 w 362787"/>
                  <a:gd name="connsiteY7" fmla="*/ 297851 h 329770"/>
                  <a:gd name="connsiteX8" fmla="*/ 99349 w 362787"/>
                  <a:gd name="connsiteY8" fmla="*/ 328285 h 329770"/>
                  <a:gd name="connsiteX9" fmla="*/ 14753 w 362787"/>
                  <a:gd name="connsiteY9" fmla="*/ 262690 h 329770"/>
                  <a:gd name="connsiteX10" fmla="*/ 0 w 362787"/>
                  <a:gd name="connsiteY10" fmla="*/ 114554 h 329770"/>
                  <a:gd name="connsiteX11" fmla="*/ 2881 w 362787"/>
                  <a:gd name="connsiteY11" fmla="*/ 114323 h 329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787" h="329770">
                    <a:moveTo>
                      <a:pt x="2881" y="114438"/>
                    </a:moveTo>
                    <a:cubicBezTo>
                      <a:pt x="2881" y="93342"/>
                      <a:pt x="1383" y="72015"/>
                      <a:pt x="3227" y="51033"/>
                    </a:cubicBezTo>
                    <a:cubicBezTo>
                      <a:pt x="7031" y="8034"/>
                      <a:pt x="40685" y="-10988"/>
                      <a:pt x="80448" y="6420"/>
                    </a:cubicBezTo>
                    <a:cubicBezTo>
                      <a:pt x="87939" y="9763"/>
                      <a:pt x="95315" y="13913"/>
                      <a:pt x="102000" y="18639"/>
                    </a:cubicBezTo>
                    <a:cubicBezTo>
                      <a:pt x="176339" y="71208"/>
                      <a:pt x="250679" y="123776"/>
                      <a:pt x="324442" y="177036"/>
                    </a:cubicBezTo>
                    <a:cubicBezTo>
                      <a:pt x="335391" y="184991"/>
                      <a:pt x="345418" y="195250"/>
                      <a:pt x="353255" y="206317"/>
                    </a:cubicBezTo>
                    <a:cubicBezTo>
                      <a:pt x="367893" y="227068"/>
                      <a:pt x="365472" y="248165"/>
                      <a:pt x="347378" y="266264"/>
                    </a:cubicBezTo>
                    <a:cubicBezTo>
                      <a:pt x="330781" y="282864"/>
                      <a:pt x="310611" y="294047"/>
                      <a:pt x="287215" y="297851"/>
                    </a:cubicBezTo>
                    <a:cubicBezTo>
                      <a:pt x="224631" y="308226"/>
                      <a:pt x="162048" y="318602"/>
                      <a:pt x="99349" y="328285"/>
                    </a:cubicBezTo>
                    <a:cubicBezTo>
                      <a:pt x="48868" y="336009"/>
                      <a:pt x="20054" y="313529"/>
                      <a:pt x="14753" y="262690"/>
                    </a:cubicBezTo>
                    <a:cubicBezTo>
                      <a:pt x="9566" y="213350"/>
                      <a:pt x="4841" y="164009"/>
                      <a:pt x="0" y="114554"/>
                    </a:cubicBezTo>
                    <a:cubicBezTo>
                      <a:pt x="922" y="114554"/>
                      <a:pt x="1959" y="114438"/>
                      <a:pt x="2881" y="11432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0" name="Freeform 329">
                <a:extLst>
                  <a:ext uri="{FF2B5EF4-FFF2-40B4-BE49-F238E27FC236}">
                    <a16:creationId xmlns:a16="http://schemas.microsoft.com/office/drawing/2014/main" id="{399F4C42-0BC1-CA55-6206-DCA596AF1900}"/>
                  </a:ext>
                </a:extLst>
              </p:cNvPr>
              <p:cNvSpPr/>
              <p:nvPr/>
            </p:nvSpPr>
            <p:spPr>
              <a:xfrm>
                <a:off x="5672665" y="6243712"/>
                <a:ext cx="290513" cy="403452"/>
              </a:xfrm>
              <a:custGeom>
                <a:avLst/>
                <a:gdLst>
                  <a:gd name="connsiteX0" fmla="*/ 290514 w 290513"/>
                  <a:gd name="connsiteY0" fmla="*/ 90104 h 403452"/>
                  <a:gd name="connsiteX1" fmla="*/ 259971 w 290513"/>
                  <a:gd name="connsiteY1" fmla="*/ 310407 h 403452"/>
                  <a:gd name="connsiteX2" fmla="*/ 234615 w 290513"/>
                  <a:gd name="connsiteY2" fmla="*/ 376924 h 403452"/>
                  <a:gd name="connsiteX3" fmla="*/ 164886 w 290513"/>
                  <a:gd name="connsiteY3" fmla="*/ 391449 h 403452"/>
                  <a:gd name="connsiteX4" fmla="*/ 132845 w 290513"/>
                  <a:gd name="connsiteY4" fmla="*/ 361361 h 403452"/>
                  <a:gd name="connsiteX5" fmla="*/ 23008 w 290513"/>
                  <a:gd name="connsiteY5" fmla="*/ 226712 h 403452"/>
                  <a:gd name="connsiteX6" fmla="*/ 6987 w 290513"/>
                  <a:gd name="connsiteY6" fmla="*/ 201120 h 403452"/>
                  <a:gd name="connsiteX7" fmla="*/ 18282 w 290513"/>
                  <a:gd name="connsiteY7" fmla="*/ 129876 h 403452"/>
                  <a:gd name="connsiteX8" fmla="*/ 45943 w 290513"/>
                  <a:gd name="connsiteY8" fmla="*/ 107281 h 403452"/>
                  <a:gd name="connsiteX9" fmla="*/ 183557 w 290513"/>
                  <a:gd name="connsiteY9" fmla="*/ 15402 h 403452"/>
                  <a:gd name="connsiteX10" fmla="*/ 200269 w 290513"/>
                  <a:gd name="connsiteY10" fmla="*/ 5718 h 403452"/>
                  <a:gd name="connsiteX11" fmla="*/ 279680 w 290513"/>
                  <a:gd name="connsiteY11" fmla="*/ 37766 h 403452"/>
                  <a:gd name="connsiteX12" fmla="*/ 290514 w 290513"/>
                  <a:gd name="connsiteY12" fmla="*/ 90219 h 40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0513" h="403452">
                    <a:moveTo>
                      <a:pt x="290514" y="90104"/>
                    </a:moveTo>
                    <a:cubicBezTo>
                      <a:pt x="280832" y="161348"/>
                      <a:pt x="271958" y="236166"/>
                      <a:pt x="259971" y="310407"/>
                    </a:cubicBezTo>
                    <a:cubicBezTo>
                      <a:pt x="256283" y="333463"/>
                      <a:pt x="246140" y="356289"/>
                      <a:pt x="234615" y="376924"/>
                    </a:cubicBezTo>
                    <a:cubicBezTo>
                      <a:pt x="217903" y="406782"/>
                      <a:pt x="192662" y="411163"/>
                      <a:pt x="164886" y="391449"/>
                    </a:cubicBezTo>
                    <a:cubicBezTo>
                      <a:pt x="153015" y="383034"/>
                      <a:pt x="142181" y="372544"/>
                      <a:pt x="132845" y="361361"/>
                    </a:cubicBezTo>
                    <a:cubicBezTo>
                      <a:pt x="95733" y="316863"/>
                      <a:pt x="59313" y="271787"/>
                      <a:pt x="23008" y="226712"/>
                    </a:cubicBezTo>
                    <a:cubicBezTo>
                      <a:pt x="16784" y="218873"/>
                      <a:pt x="11136" y="210227"/>
                      <a:pt x="6987" y="201120"/>
                    </a:cubicBezTo>
                    <a:cubicBezTo>
                      <a:pt x="-4999" y="175067"/>
                      <a:pt x="-1772" y="150742"/>
                      <a:pt x="18282" y="129876"/>
                    </a:cubicBezTo>
                    <a:cubicBezTo>
                      <a:pt x="26465" y="121345"/>
                      <a:pt x="36146" y="113967"/>
                      <a:pt x="45943" y="107281"/>
                    </a:cubicBezTo>
                    <a:cubicBezTo>
                      <a:pt x="91584" y="76386"/>
                      <a:pt x="137571" y="45836"/>
                      <a:pt x="183557" y="15402"/>
                    </a:cubicBezTo>
                    <a:cubicBezTo>
                      <a:pt x="188859" y="11828"/>
                      <a:pt x="194391" y="8370"/>
                      <a:pt x="200269" y="5718"/>
                    </a:cubicBezTo>
                    <a:cubicBezTo>
                      <a:pt x="232079" y="-8692"/>
                      <a:pt x="267463" y="4911"/>
                      <a:pt x="279680" y="37766"/>
                    </a:cubicBezTo>
                    <a:cubicBezTo>
                      <a:pt x="285327" y="52983"/>
                      <a:pt x="286480" y="69815"/>
                      <a:pt x="290514" y="9021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1" name="Freeform 330">
                <a:extLst>
                  <a:ext uri="{FF2B5EF4-FFF2-40B4-BE49-F238E27FC236}">
                    <a16:creationId xmlns:a16="http://schemas.microsoft.com/office/drawing/2014/main" id="{D3CB8787-4649-EADF-8286-495BEAC4CCAC}"/>
                  </a:ext>
                </a:extLst>
              </p:cNvPr>
              <p:cNvSpPr/>
              <p:nvPr/>
            </p:nvSpPr>
            <p:spPr>
              <a:xfrm>
                <a:off x="8585221" y="3891668"/>
                <a:ext cx="311707" cy="309000"/>
              </a:xfrm>
              <a:custGeom>
                <a:avLst/>
                <a:gdLst>
                  <a:gd name="connsiteX0" fmla="*/ 115 w 311707"/>
                  <a:gd name="connsiteY0" fmla="*/ 153699 h 309000"/>
                  <a:gd name="connsiteX1" fmla="*/ 39763 w 311707"/>
                  <a:gd name="connsiteY1" fmla="*/ 48794 h 309000"/>
                  <a:gd name="connsiteX2" fmla="*/ 49675 w 311707"/>
                  <a:gd name="connsiteY2" fmla="*/ 39341 h 309000"/>
                  <a:gd name="connsiteX3" fmla="*/ 149024 w 311707"/>
                  <a:gd name="connsiteY3" fmla="*/ 721 h 309000"/>
                  <a:gd name="connsiteX4" fmla="*/ 304042 w 311707"/>
                  <a:gd name="connsiteY4" fmla="*/ 196008 h 309000"/>
                  <a:gd name="connsiteX5" fmla="*/ 291594 w 311707"/>
                  <a:gd name="connsiteY5" fmla="*/ 223560 h 309000"/>
                  <a:gd name="connsiteX6" fmla="*/ 150983 w 311707"/>
                  <a:gd name="connsiteY6" fmla="*/ 308292 h 309000"/>
                  <a:gd name="connsiteX7" fmla="*/ 8990 w 311707"/>
                  <a:gd name="connsiteY7" fmla="*/ 196354 h 309000"/>
                  <a:gd name="connsiteX8" fmla="*/ 0 w 311707"/>
                  <a:gd name="connsiteY8" fmla="*/ 153469 h 309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1707" h="309000">
                    <a:moveTo>
                      <a:pt x="115" y="153699"/>
                    </a:moveTo>
                    <a:cubicBezTo>
                      <a:pt x="1498" y="113697"/>
                      <a:pt x="17519" y="80150"/>
                      <a:pt x="39763" y="48794"/>
                    </a:cubicBezTo>
                    <a:cubicBezTo>
                      <a:pt x="42298" y="45105"/>
                      <a:pt x="45871" y="41761"/>
                      <a:pt x="49675" y="39341"/>
                    </a:cubicBezTo>
                    <a:cubicBezTo>
                      <a:pt x="80217" y="19858"/>
                      <a:pt x="112373" y="4410"/>
                      <a:pt x="149024" y="721"/>
                    </a:cubicBezTo>
                    <a:cubicBezTo>
                      <a:pt x="254021" y="-9769"/>
                      <a:pt x="338042" y="96059"/>
                      <a:pt x="304042" y="196008"/>
                    </a:cubicBezTo>
                    <a:cubicBezTo>
                      <a:pt x="300814" y="205576"/>
                      <a:pt x="296781" y="215029"/>
                      <a:pt x="291594" y="223560"/>
                    </a:cubicBezTo>
                    <a:cubicBezTo>
                      <a:pt x="259669" y="276359"/>
                      <a:pt x="216218" y="314747"/>
                      <a:pt x="150983" y="308292"/>
                    </a:cubicBezTo>
                    <a:cubicBezTo>
                      <a:pt x="82061" y="301490"/>
                      <a:pt x="35268" y="259874"/>
                      <a:pt x="8990" y="196354"/>
                    </a:cubicBezTo>
                    <a:cubicBezTo>
                      <a:pt x="3457" y="183096"/>
                      <a:pt x="2881" y="167879"/>
                      <a:pt x="0" y="15346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2" name="Freeform 331">
                <a:extLst>
                  <a:ext uri="{FF2B5EF4-FFF2-40B4-BE49-F238E27FC236}">
                    <a16:creationId xmlns:a16="http://schemas.microsoft.com/office/drawing/2014/main" id="{24E910A5-FC98-B6A9-4804-383BAF66BE16}"/>
                  </a:ext>
                </a:extLst>
              </p:cNvPr>
              <p:cNvSpPr/>
              <p:nvPr/>
            </p:nvSpPr>
            <p:spPr>
              <a:xfrm>
                <a:off x="10964792" y="1907662"/>
                <a:ext cx="310126" cy="309242"/>
              </a:xfrm>
              <a:custGeom>
                <a:avLst/>
                <a:gdLst>
                  <a:gd name="connsiteX0" fmla="*/ 162600 w 310126"/>
                  <a:gd name="connsiteY0" fmla="*/ 159 h 309242"/>
                  <a:gd name="connsiteX1" fmla="*/ 310126 w 310126"/>
                  <a:gd name="connsiteY1" fmla="*/ 148872 h 309242"/>
                  <a:gd name="connsiteX2" fmla="*/ 157990 w 310126"/>
                  <a:gd name="connsiteY2" fmla="*/ 309228 h 309242"/>
                  <a:gd name="connsiteX3" fmla="*/ 92 w 310126"/>
                  <a:gd name="connsiteY3" fmla="*/ 153713 h 309242"/>
                  <a:gd name="connsiteX4" fmla="*/ 162716 w 310126"/>
                  <a:gd name="connsiteY4" fmla="*/ 159 h 309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126" h="309242">
                    <a:moveTo>
                      <a:pt x="162600" y="159"/>
                    </a:moveTo>
                    <a:cubicBezTo>
                      <a:pt x="240166" y="-3991"/>
                      <a:pt x="310011" y="73939"/>
                      <a:pt x="310126" y="148872"/>
                    </a:cubicBezTo>
                    <a:cubicBezTo>
                      <a:pt x="310126" y="229914"/>
                      <a:pt x="234058" y="310496"/>
                      <a:pt x="157990" y="309228"/>
                    </a:cubicBezTo>
                    <a:cubicBezTo>
                      <a:pt x="79501" y="307960"/>
                      <a:pt x="-3136" y="228877"/>
                      <a:pt x="92" y="153713"/>
                    </a:cubicBezTo>
                    <a:cubicBezTo>
                      <a:pt x="4241" y="57915"/>
                      <a:pt x="60600" y="6269"/>
                      <a:pt x="162716" y="15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3" name="Freeform 332">
                <a:extLst>
                  <a:ext uri="{FF2B5EF4-FFF2-40B4-BE49-F238E27FC236}">
                    <a16:creationId xmlns:a16="http://schemas.microsoft.com/office/drawing/2014/main" id="{7E1FE099-BE48-2B67-7A9A-C3E5F4D56739}"/>
                  </a:ext>
                </a:extLst>
              </p:cNvPr>
              <p:cNvSpPr/>
              <p:nvPr/>
            </p:nvSpPr>
            <p:spPr>
              <a:xfrm>
                <a:off x="8763175" y="2721192"/>
                <a:ext cx="265551" cy="361804"/>
              </a:xfrm>
              <a:custGeom>
                <a:avLst/>
                <a:gdLst>
                  <a:gd name="connsiteX0" fmla="*/ 0 w 265551"/>
                  <a:gd name="connsiteY0" fmla="*/ 92394 h 361804"/>
                  <a:gd name="connsiteX1" fmla="*/ 6915 w 265551"/>
                  <a:gd name="connsiteY1" fmla="*/ 40863 h 361804"/>
                  <a:gd name="connsiteX2" fmla="*/ 62814 w 265551"/>
                  <a:gd name="connsiteY2" fmla="*/ 169 h 361804"/>
                  <a:gd name="connsiteX3" fmla="*/ 92550 w 265551"/>
                  <a:gd name="connsiteY3" fmla="*/ 5472 h 361804"/>
                  <a:gd name="connsiteX4" fmla="*/ 232930 w 265551"/>
                  <a:gd name="connsiteY4" fmla="*/ 94584 h 361804"/>
                  <a:gd name="connsiteX5" fmla="*/ 257018 w 265551"/>
                  <a:gd name="connsiteY5" fmla="*/ 214246 h 361804"/>
                  <a:gd name="connsiteX6" fmla="*/ 180374 w 265551"/>
                  <a:gd name="connsiteY6" fmla="*/ 327107 h 361804"/>
                  <a:gd name="connsiteX7" fmla="*/ 138997 w 265551"/>
                  <a:gd name="connsiteY7" fmla="*/ 353967 h 361804"/>
                  <a:gd name="connsiteX8" fmla="*/ 45295 w 265551"/>
                  <a:gd name="connsiteY8" fmla="*/ 326069 h 361804"/>
                  <a:gd name="connsiteX9" fmla="*/ 15214 w 265551"/>
                  <a:gd name="connsiteY9" fmla="*/ 238109 h 361804"/>
                  <a:gd name="connsiteX10" fmla="*/ 0 w 265551"/>
                  <a:gd name="connsiteY10" fmla="*/ 92509 h 361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5551" h="361804">
                    <a:moveTo>
                      <a:pt x="0" y="92394"/>
                    </a:moveTo>
                    <a:cubicBezTo>
                      <a:pt x="2190" y="75217"/>
                      <a:pt x="2881" y="57579"/>
                      <a:pt x="6915" y="40863"/>
                    </a:cubicBezTo>
                    <a:cubicBezTo>
                      <a:pt x="14291" y="9852"/>
                      <a:pt x="30657" y="-1560"/>
                      <a:pt x="62814" y="169"/>
                    </a:cubicBezTo>
                    <a:cubicBezTo>
                      <a:pt x="72841" y="745"/>
                      <a:pt x="82983" y="2359"/>
                      <a:pt x="92550" y="5472"/>
                    </a:cubicBezTo>
                    <a:cubicBezTo>
                      <a:pt x="146834" y="23340"/>
                      <a:pt x="193974" y="52507"/>
                      <a:pt x="232930" y="94584"/>
                    </a:cubicBezTo>
                    <a:cubicBezTo>
                      <a:pt x="265316" y="129630"/>
                      <a:pt x="274076" y="168825"/>
                      <a:pt x="257018" y="214246"/>
                    </a:cubicBezTo>
                    <a:cubicBezTo>
                      <a:pt x="240536" y="258168"/>
                      <a:pt x="215642" y="296326"/>
                      <a:pt x="180374" y="327107"/>
                    </a:cubicBezTo>
                    <a:cubicBezTo>
                      <a:pt x="168041" y="337828"/>
                      <a:pt x="153865" y="347281"/>
                      <a:pt x="138997" y="353967"/>
                    </a:cubicBezTo>
                    <a:cubicBezTo>
                      <a:pt x="101885" y="370798"/>
                      <a:pt x="68001" y="360077"/>
                      <a:pt x="45295" y="326069"/>
                    </a:cubicBezTo>
                    <a:cubicBezTo>
                      <a:pt x="27546" y="299439"/>
                      <a:pt x="19363" y="269005"/>
                      <a:pt x="15214" y="238109"/>
                    </a:cubicBezTo>
                    <a:cubicBezTo>
                      <a:pt x="8875" y="189922"/>
                      <a:pt x="4956" y="141388"/>
                      <a:pt x="0" y="9250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4" name="Freeform 333">
                <a:extLst>
                  <a:ext uri="{FF2B5EF4-FFF2-40B4-BE49-F238E27FC236}">
                    <a16:creationId xmlns:a16="http://schemas.microsoft.com/office/drawing/2014/main" id="{2563C11E-DD47-2665-6251-B9F667D5C4A6}"/>
                  </a:ext>
                </a:extLst>
              </p:cNvPr>
              <p:cNvSpPr/>
              <p:nvPr/>
            </p:nvSpPr>
            <p:spPr>
              <a:xfrm>
                <a:off x="5586065" y="5804000"/>
                <a:ext cx="238037" cy="252401"/>
              </a:xfrm>
              <a:custGeom>
                <a:avLst/>
                <a:gdLst>
                  <a:gd name="connsiteX0" fmla="*/ 84368 w 238037"/>
                  <a:gd name="connsiteY0" fmla="*/ 233544 h 252401"/>
                  <a:gd name="connsiteX1" fmla="*/ 58781 w 238037"/>
                  <a:gd name="connsiteY1" fmla="*/ 217519 h 252401"/>
                  <a:gd name="connsiteX2" fmla="*/ 11527 w 238037"/>
                  <a:gd name="connsiteY2" fmla="*/ 73418 h 252401"/>
                  <a:gd name="connsiteX3" fmla="*/ 97276 w 238037"/>
                  <a:gd name="connsiteY3" fmla="*/ 675 h 252401"/>
                  <a:gd name="connsiteX4" fmla="*/ 212646 w 238037"/>
                  <a:gd name="connsiteY4" fmla="*/ 42407 h 252401"/>
                  <a:gd name="connsiteX5" fmla="*/ 223019 w 238037"/>
                  <a:gd name="connsiteY5" fmla="*/ 171291 h 252401"/>
                  <a:gd name="connsiteX6" fmla="*/ 202158 w 238037"/>
                  <a:gd name="connsiteY6" fmla="*/ 200458 h 252401"/>
                  <a:gd name="connsiteX7" fmla="*/ 175534 w 238037"/>
                  <a:gd name="connsiteY7" fmla="*/ 238155 h 252401"/>
                  <a:gd name="connsiteX8" fmla="*/ 112605 w 238037"/>
                  <a:gd name="connsiteY8" fmla="*/ 250951 h 252401"/>
                  <a:gd name="connsiteX9" fmla="*/ 84368 w 238037"/>
                  <a:gd name="connsiteY9" fmla="*/ 233428 h 252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8037" h="252401">
                    <a:moveTo>
                      <a:pt x="84368" y="233544"/>
                    </a:moveTo>
                    <a:cubicBezTo>
                      <a:pt x="75839" y="228240"/>
                      <a:pt x="67425" y="222707"/>
                      <a:pt x="58781" y="217519"/>
                    </a:cubicBezTo>
                    <a:cubicBezTo>
                      <a:pt x="3228" y="184318"/>
                      <a:pt x="-13945" y="132903"/>
                      <a:pt x="11527" y="73418"/>
                    </a:cubicBezTo>
                    <a:cubicBezTo>
                      <a:pt x="27893" y="35144"/>
                      <a:pt x="52327" y="4710"/>
                      <a:pt x="97276" y="675"/>
                    </a:cubicBezTo>
                    <a:cubicBezTo>
                      <a:pt x="141765" y="-3360"/>
                      <a:pt x="181181" y="10705"/>
                      <a:pt x="212646" y="42407"/>
                    </a:cubicBezTo>
                    <a:cubicBezTo>
                      <a:pt x="242266" y="72149"/>
                      <a:pt x="246300" y="132673"/>
                      <a:pt x="223019" y="171291"/>
                    </a:cubicBezTo>
                    <a:cubicBezTo>
                      <a:pt x="216910" y="181436"/>
                      <a:pt x="209188" y="190774"/>
                      <a:pt x="202158" y="200458"/>
                    </a:cubicBezTo>
                    <a:cubicBezTo>
                      <a:pt x="201927" y="219134"/>
                      <a:pt x="191439" y="230315"/>
                      <a:pt x="175534" y="238155"/>
                    </a:cubicBezTo>
                    <a:cubicBezTo>
                      <a:pt x="155595" y="248184"/>
                      <a:pt x="135195" y="255677"/>
                      <a:pt x="112605" y="250951"/>
                    </a:cubicBezTo>
                    <a:cubicBezTo>
                      <a:pt x="101425" y="248645"/>
                      <a:pt x="88402" y="247838"/>
                      <a:pt x="84368" y="23342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5" name="Freeform 334">
                <a:extLst>
                  <a:ext uri="{FF2B5EF4-FFF2-40B4-BE49-F238E27FC236}">
                    <a16:creationId xmlns:a16="http://schemas.microsoft.com/office/drawing/2014/main" id="{AA02061F-D059-5497-C73E-82967FF5FADD}"/>
                  </a:ext>
                </a:extLst>
              </p:cNvPr>
              <p:cNvSpPr/>
              <p:nvPr/>
            </p:nvSpPr>
            <p:spPr>
              <a:xfrm>
                <a:off x="9058111" y="1096236"/>
                <a:ext cx="235929" cy="237139"/>
              </a:xfrm>
              <a:custGeom>
                <a:avLst/>
                <a:gdLst>
                  <a:gd name="connsiteX0" fmla="*/ 129085 w 235929"/>
                  <a:gd name="connsiteY0" fmla="*/ 5 h 237139"/>
                  <a:gd name="connsiteX1" fmla="*/ 235926 w 235929"/>
                  <a:gd name="connsiteY1" fmla="*/ 127506 h 237139"/>
                  <a:gd name="connsiteX2" fmla="*/ 111682 w 235929"/>
                  <a:gd name="connsiteY2" fmla="*/ 237138 h 237139"/>
                  <a:gd name="connsiteX3" fmla="*/ 0 w 235929"/>
                  <a:gd name="connsiteY3" fmla="*/ 110214 h 237139"/>
                  <a:gd name="connsiteX4" fmla="*/ 129085 w 235929"/>
                  <a:gd name="connsiteY4" fmla="*/ 5 h 23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5929" h="237139">
                    <a:moveTo>
                      <a:pt x="129085" y="5"/>
                    </a:moveTo>
                    <a:cubicBezTo>
                      <a:pt x="188557" y="466"/>
                      <a:pt x="236387" y="57530"/>
                      <a:pt x="235926" y="127506"/>
                    </a:cubicBezTo>
                    <a:cubicBezTo>
                      <a:pt x="235581" y="190680"/>
                      <a:pt x="183255" y="236908"/>
                      <a:pt x="111682" y="237138"/>
                    </a:cubicBezTo>
                    <a:cubicBezTo>
                      <a:pt x="50251" y="237369"/>
                      <a:pt x="-115" y="180074"/>
                      <a:pt x="0" y="110214"/>
                    </a:cubicBezTo>
                    <a:cubicBezTo>
                      <a:pt x="115" y="51074"/>
                      <a:pt x="60624" y="-572"/>
                      <a:pt x="129085" y="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6" name="Freeform 335">
                <a:extLst>
                  <a:ext uri="{FF2B5EF4-FFF2-40B4-BE49-F238E27FC236}">
                    <a16:creationId xmlns:a16="http://schemas.microsoft.com/office/drawing/2014/main" id="{DCBC5ACE-E554-F2C3-40D9-F478B2C02960}"/>
                  </a:ext>
                </a:extLst>
              </p:cNvPr>
              <p:cNvSpPr/>
              <p:nvPr/>
            </p:nvSpPr>
            <p:spPr>
              <a:xfrm>
                <a:off x="6800502" y="2339656"/>
                <a:ext cx="236850" cy="238099"/>
              </a:xfrm>
              <a:custGeom>
                <a:avLst/>
                <a:gdLst>
                  <a:gd name="connsiteX0" fmla="*/ 111222 w 236850"/>
                  <a:gd name="connsiteY0" fmla="*/ 9 h 238099"/>
                  <a:gd name="connsiteX1" fmla="*/ 236850 w 236850"/>
                  <a:gd name="connsiteY1" fmla="*/ 111832 h 238099"/>
                  <a:gd name="connsiteX2" fmla="*/ 122287 w 236850"/>
                  <a:gd name="connsiteY2" fmla="*/ 238065 h 238099"/>
                  <a:gd name="connsiteX3" fmla="*/ 2 w 236850"/>
                  <a:gd name="connsiteY3" fmla="*/ 123129 h 238099"/>
                  <a:gd name="connsiteX4" fmla="*/ 111222 w 236850"/>
                  <a:gd name="connsiteY4" fmla="*/ 9 h 238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850" h="238099">
                    <a:moveTo>
                      <a:pt x="111222" y="9"/>
                    </a:moveTo>
                    <a:cubicBezTo>
                      <a:pt x="183948" y="1046"/>
                      <a:pt x="237080" y="48888"/>
                      <a:pt x="236850" y="111832"/>
                    </a:cubicBezTo>
                    <a:cubicBezTo>
                      <a:pt x="236619" y="185612"/>
                      <a:pt x="170579" y="239679"/>
                      <a:pt x="122287" y="238065"/>
                    </a:cubicBezTo>
                    <a:cubicBezTo>
                      <a:pt x="57514" y="235874"/>
                      <a:pt x="-344" y="182384"/>
                      <a:pt x="2" y="123129"/>
                    </a:cubicBezTo>
                    <a:cubicBezTo>
                      <a:pt x="463" y="54191"/>
                      <a:pt x="50137" y="-798"/>
                      <a:pt x="111222" y="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7" name="Freeform 336">
                <a:extLst>
                  <a:ext uri="{FF2B5EF4-FFF2-40B4-BE49-F238E27FC236}">
                    <a16:creationId xmlns:a16="http://schemas.microsoft.com/office/drawing/2014/main" id="{76BECA8B-813C-9273-C528-74064F68BBFB}"/>
                  </a:ext>
                </a:extLst>
              </p:cNvPr>
              <p:cNvSpPr/>
              <p:nvPr/>
            </p:nvSpPr>
            <p:spPr>
              <a:xfrm>
                <a:off x="6010150" y="5357896"/>
                <a:ext cx="382896" cy="384739"/>
              </a:xfrm>
              <a:custGeom>
                <a:avLst/>
                <a:gdLst>
                  <a:gd name="connsiteX0" fmla="*/ 202324 w 382896"/>
                  <a:gd name="connsiteY0" fmla="*/ 64 h 384739"/>
                  <a:gd name="connsiteX1" fmla="*/ 44080 w 382896"/>
                  <a:gd name="connsiteY1" fmla="*/ 76380 h 384739"/>
                  <a:gd name="connsiteX2" fmla="*/ 157721 w 382896"/>
                  <a:gd name="connsiteY2" fmla="*/ 382221 h 384739"/>
                  <a:gd name="connsiteX3" fmla="*/ 382813 w 382896"/>
                  <a:gd name="connsiteY3" fmla="*/ 186128 h 384739"/>
                  <a:gd name="connsiteX4" fmla="*/ 202324 w 382896"/>
                  <a:gd name="connsiteY4" fmla="*/ 64 h 384739"/>
                  <a:gd name="connsiteX5" fmla="*/ 188494 w 382896"/>
                  <a:gd name="connsiteY5" fmla="*/ 243999 h 384739"/>
                  <a:gd name="connsiteX6" fmla="*/ 138473 w 382896"/>
                  <a:gd name="connsiteY6" fmla="*/ 195696 h 384739"/>
                  <a:gd name="connsiteX7" fmla="*/ 192412 w 382896"/>
                  <a:gd name="connsiteY7" fmla="*/ 140361 h 384739"/>
                  <a:gd name="connsiteX8" fmla="*/ 242894 w 382896"/>
                  <a:gd name="connsiteY8" fmla="*/ 186474 h 384739"/>
                  <a:gd name="connsiteX9" fmla="*/ 188379 w 382896"/>
                  <a:gd name="connsiteY9" fmla="*/ 243999 h 384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896" h="384739">
                    <a:moveTo>
                      <a:pt x="202324" y="64"/>
                    </a:moveTo>
                    <a:cubicBezTo>
                      <a:pt x="135937" y="-1550"/>
                      <a:pt x="85110" y="27501"/>
                      <a:pt x="44080" y="76380"/>
                    </a:cubicBezTo>
                    <a:cubicBezTo>
                      <a:pt x="-49277" y="187742"/>
                      <a:pt x="13652" y="356744"/>
                      <a:pt x="157721" y="382221"/>
                    </a:cubicBezTo>
                    <a:cubicBezTo>
                      <a:pt x="269057" y="401934"/>
                      <a:pt x="382582" y="303023"/>
                      <a:pt x="382813" y="186128"/>
                    </a:cubicBezTo>
                    <a:cubicBezTo>
                      <a:pt x="386271" y="81683"/>
                      <a:pt x="282080" y="1908"/>
                      <a:pt x="202324" y="64"/>
                    </a:cubicBezTo>
                    <a:close/>
                    <a:moveTo>
                      <a:pt x="188494" y="243999"/>
                    </a:moveTo>
                    <a:cubicBezTo>
                      <a:pt x="169477" y="244345"/>
                      <a:pt x="139395" y="215179"/>
                      <a:pt x="138473" y="195696"/>
                    </a:cubicBezTo>
                    <a:cubicBezTo>
                      <a:pt x="137551" y="174830"/>
                      <a:pt x="170053" y="141399"/>
                      <a:pt x="192412" y="140361"/>
                    </a:cubicBezTo>
                    <a:cubicBezTo>
                      <a:pt x="213965" y="139324"/>
                      <a:pt x="242894" y="165839"/>
                      <a:pt x="242894" y="186474"/>
                    </a:cubicBezTo>
                    <a:cubicBezTo>
                      <a:pt x="242894" y="211490"/>
                      <a:pt x="212582" y="243538"/>
                      <a:pt x="188379" y="24399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8" name="Freeform 337">
                <a:extLst>
                  <a:ext uri="{FF2B5EF4-FFF2-40B4-BE49-F238E27FC236}">
                    <a16:creationId xmlns:a16="http://schemas.microsoft.com/office/drawing/2014/main" id="{FBDCE61D-0BD4-FD94-C206-22AA2BF77A53}"/>
                  </a:ext>
                </a:extLst>
              </p:cNvPr>
              <p:cNvSpPr/>
              <p:nvPr/>
            </p:nvSpPr>
            <p:spPr>
              <a:xfrm>
                <a:off x="5198271" y="5179087"/>
                <a:ext cx="247394" cy="247017"/>
              </a:xfrm>
              <a:custGeom>
                <a:avLst/>
                <a:gdLst>
                  <a:gd name="connsiteX0" fmla="*/ 228052 w 247394"/>
                  <a:gd name="connsiteY0" fmla="*/ 55983 h 247017"/>
                  <a:gd name="connsiteX1" fmla="*/ 21976 w 247394"/>
                  <a:gd name="connsiteY1" fmla="*/ 59211 h 247017"/>
                  <a:gd name="connsiteX2" fmla="*/ 27278 w 247394"/>
                  <a:gd name="connsiteY2" fmla="*/ 196857 h 247017"/>
                  <a:gd name="connsiteX3" fmla="*/ 99082 w 247394"/>
                  <a:gd name="connsiteY3" fmla="*/ 246082 h 247017"/>
                  <a:gd name="connsiteX4" fmla="*/ 112797 w 247394"/>
                  <a:gd name="connsiteY4" fmla="*/ 246313 h 247017"/>
                  <a:gd name="connsiteX5" fmla="*/ 243611 w 247394"/>
                  <a:gd name="connsiteY5" fmla="*/ 149822 h 247017"/>
                  <a:gd name="connsiteX6" fmla="*/ 237733 w 247394"/>
                  <a:gd name="connsiteY6" fmla="*/ 69241 h 247017"/>
                  <a:gd name="connsiteX7" fmla="*/ 228052 w 247394"/>
                  <a:gd name="connsiteY7" fmla="*/ 55868 h 247017"/>
                  <a:gd name="connsiteX8" fmla="*/ 120749 w 247394"/>
                  <a:gd name="connsiteY8" fmla="*/ 156278 h 247017"/>
                  <a:gd name="connsiteX9" fmla="*/ 91590 w 247394"/>
                  <a:gd name="connsiteY9" fmla="*/ 123884 h 247017"/>
                  <a:gd name="connsiteX10" fmla="*/ 127089 w 247394"/>
                  <a:gd name="connsiteY10" fmla="*/ 91259 h 247017"/>
                  <a:gd name="connsiteX11" fmla="*/ 157516 w 247394"/>
                  <a:gd name="connsiteY11" fmla="*/ 121233 h 247017"/>
                  <a:gd name="connsiteX12" fmla="*/ 120865 w 247394"/>
                  <a:gd name="connsiteY12" fmla="*/ 156278 h 247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7394" h="247017">
                    <a:moveTo>
                      <a:pt x="228052" y="55983"/>
                    </a:moveTo>
                    <a:cubicBezTo>
                      <a:pt x="172268" y="-19987"/>
                      <a:pt x="76031" y="-18373"/>
                      <a:pt x="21976" y="59211"/>
                    </a:cubicBezTo>
                    <a:cubicBezTo>
                      <a:pt x="-9143" y="103940"/>
                      <a:pt x="-7068" y="154434"/>
                      <a:pt x="27278" y="196857"/>
                    </a:cubicBezTo>
                    <a:cubicBezTo>
                      <a:pt x="46410" y="220490"/>
                      <a:pt x="70729" y="236053"/>
                      <a:pt x="99082" y="246082"/>
                    </a:cubicBezTo>
                    <a:cubicBezTo>
                      <a:pt x="103692" y="246082"/>
                      <a:pt x="108302" y="245736"/>
                      <a:pt x="112797" y="246313"/>
                    </a:cubicBezTo>
                    <a:cubicBezTo>
                      <a:pt x="160628" y="252769"/>
                      <a:pt x="225977" y="214380"/>
                      <a:pt x="243611" y="149822"/>
                    </a:cubicBezTo>
                    <a:cubicBezTo>
                      <a:pt x="251218" y="121809"/>
                      <a:pt x="246377" y="95640"/>
                      <a:pt x="237733" y="69241"/>
                    </a:cubicBezTo>
                    <a:cubicBezTo>
                      <a:pt x="234506" y="64745"/>
                      <a:pt x="231279" y="60364"/>
                      <a:pt x="228052" y="55868"/>
                    </a:cubicBezTo>
                    <a:close/>
                    <a:moveTo>
                      <a:pt x="120749" y="156278"/>
                    </a:moveTo>
                    <a:cubicBezTo>
                      <a:pt x="108417" y="155125"/>
                      <a:pt x="91129" y="135873"/>
                      <a:pt x="91590" y="123884"/>
                    </a:cubicBezTo>
                    <a:cubicBezTo>
                      <a:pt x="92051" y="109359"/>
                      <a:pt x="112336" y="90798"/>
                      <a:pt x="127089" y="91259"/>
                    </a:cubicBezTo>
                    <a:cubicBezTo>
                      <a:pt x="141956" y="91721"/>
                      <a:pt x="158092" y="107630"/>
                      <a:pt x="157516" y="121233"/>
                    </a:cubicBezTo>
                    <a:cubicBezTo>
                      <a:pt x="156824" y="137372"/>
                      <a:pt x="135502" y="157662"/>
                      <a:pt x="120865" y="15627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9" name="Freeform 338">
                <a:extLst>
                  <a:ext uri="{FF2B5EF4-FFF2-40B4-BE49-F238E27FC236}">
                    <a16:creationId xmlns:a16="http://schemas.microsoft.com/office/drawing/2014/main" id="{E577C9A1-CD72-04DF-18C5-36F22919831F}"/>
                  </a:ext>
                </a:extLst>
              </p:cNvPr>
              <p:cNvSpPr/>
              <p:nvPr/>
            </p:nvSpPr>
            <p:spPr>
              <a:xfrm>
                <a:off x="7161816" y="5280010"/>
                <a:ext cx="244700" cy="244196"/>
              </a:xfrm>
              <a:custGeom>
                <a:avLst/>
                <a:gdLst>
                  <a:gd name="connsiteX0" fmla="*/ 126675 w 244700"/>
                  <a:gd name="connsiteY0" fmla="*/ 20 h 244196"/>
                  <a:gd name="connsiteX1" fmla="*/ 11 w 244700"/>
                  <a:gd name="connsiteY1" fmla="*/ 121526 h 244196"/>
                  <a:gd name="connsiteX2" fmla="*/ 119069 w 244700"/>
                  <a:gd name="connsiteY2" fmla="*/ 244186 h 244196"/>
                  <a:gd name="connsiteX3" fmla="*/ 244696 w 244700"/>
                  <a:gd name="connsiteY3" fmla="*/ 118644 h 244196"/>
                  <a:gd name="connsiteX4" fmla="*/ 126675 w 244700"/>
                  <a:gd name="connsiteY4" fmla="*/ 20 h 244196"/>
                  <a:gd name="connsiteX5" fmla="*/ 122987 w 244700"/>
                  <a:gd name="connsiteY5" fmla="*/ 154382 h 244196"/>
                  <a:gd name="connsiteX6" fmla="*/ 90255 w 244700"/>
                  <a:gd name="connsiteY6" fmla="*/ 122679 h 244196"/>
                  <a:gd name="connsiteX7" fmla="*/ 122987 w 244700"/>
                  <a:gd name="connsiteY7" fmla="*/ 89939 h 244196"/>
                  <a:gd name="connsiteX8" fmla="*/ 154682 w 244700"/>
                  <a:gd name="connsiteY8" fmla="*/ 117837 h 244196"/>
                  <a:gd name="connsiteX9" fmla="*/ 122987 w 244700"/>
                  <a:gd name="connsiteY9" fmla="*/ 154382 h 244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4700" h="244196">
                    <a:moveTo>
                      <a:pt x="126675" y="20"/>
                    </a:moveTo>
                    <a:cubicBezTo>
                      <a:pt x="63401" y="-1248"/>
                      <a:pt x="1048" y="58698"/>
                      <a:pt x="11" y="121526"/>
                    </a:cubicBezTo>
                    <a:cubicBezTo>
                      <a:pt x="-911" y="182164"/>
                      <a:pt x="58445" y="243379"/>
                      <a:pt x="119069" y="244186"/>
                    </a:cubicBezTo>
                    <a:cubicBezTo>
                      <a:pt x="184072" y="245108"/>
                      <a:pt x="244005" y="185162"/>
                      <a:pt x="244696" y="118644"/>
                    </a:cubicBezTo>
                    <a:cubicBezTo>
                      <a:pt x="245272" y="56853"/>
                      <a:pt x="189950" y="1288"/>
                      <a:pt x="126675" y="20"/>
                    </a:cubicBezTo>
                    <a:close/>
                    <a:moveTo>
                      <a:pt x="122987" y="154382"/>
                    </a:moveTo>
                    <a:cubicBezTo>
                      <a:pt x="110425" y="155534"/>
                      <a:pt x="90024" y="135821"/>
                      <a:pt x="90255" y="122679"/>
                    </a:cubicBezTo>
                    <a:cubicBezTo>
                      <a:pt x="90370" y="110114"/>
                      <a:pt x="109502" y="90977"/>
                      <a:pt x="122987" y="89939"/>
                    </a:cubicBezTo>
                    <a:cubicBezTo>
                      <a:pt x="137740" y="88787"/>
                      <a:pt x="154106" y="103312"/>
                      <a:pt x="154682" y="117837"/>
                    </a:cubicBezTo>
                    <a:cubicBezTo>
                      <a:pt x="155259" y="133170"/>
                      <a:pt x="138086" y="152998"/>
                      <a:pt x="122987" y="15438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40" name="Freeform 339">
                <a:extLst>
                  <a:ext uri="{FF2B5EF4-FFF2-40B4-BE49-F238E27FC236}">
                    <a16:creationId xmlns:a16="http://schemas.microsoft.com/office/drawing/2014/main" id="{FC66E74D-989D-E4FE-C1E1-860A1A55EB2F}"/>
                  </a:ext>
                </a:extLst>
              </p:cNvPr>
              <p:cNvSpPr/>
              <p:nvPr/>
            </p:nvSpPr>
            <p:spPr>
              <a:xfrm>
                <a:off x="8597478" y="3374"/>
                <a:ext cx="450490" cy="295445"/>
              </a:xfrm>
              <a:custGeom>
                <a:avLst/>
                <a:gdLst>
                  <a:gd name="connsiteX0" fmla="*/ 44218 w 450490"/>
                  <a:gd name="connsiteY0" fmla="*/ 186525 h 295445"/>
                  <a:gd name="connsiteX1" fmla="*/ 255018 w 450490"/>
                  <a:gd name="connsiteY1" fmla="*/ 287050 h 295445"/>
                  <a:gd name="connsiteX2" fmla="*/ 325900 w 450490"/>
                  <a:gd name="connsiteY2" fmla="*/ 295351 h 295445"/>
                  <a:gd name="connsiteX3" fmla="*/ 400585 w 450490"/>
                  <a:gd name="connsiteY3" fmla="*/ 240707 h 295445"/>
                  <a:gd name="connsiteX4" fmla="*/ 439310 w 450490"/>
                  <a:gd name="connsiteY4" fmla="*/ 37928 h 295445"/>
                  <a:gd name="connsiteX5" fmla="*/ 450490 w 450490"/>
                  <a:gd name="connsiteY5" fmla="*/ 0 h 295445"/>
                  <a:gd name="connsiteX6" fmla="*/ 17363 w 450490"/>
                  <a:gd name="connsiteY6" fmla="*/ 0 h 295445"/>
                  <a:gd name="connsiteX7" fmla="*/ 21282 w 450490"/>
                  <a:gd name="connsiteY7" fmla="*/ 5418 h 295445"/>
                  <a:gd name="connsiteX8" fmla="*/ 3533 w 450490"/>
                  <a:gd name="connsiteY8" fmla="*/ 69169 h 295445"/>
                  <a:gd name="connsiteX9" fmla="*/ 44103 w 450490"/>
                  <a:gd name="connsiteY9" fmla="*/ 186525 h 295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0490" h="295445">
                    <a:moveTo>
                      <a:pt x="44218" y="186525"/>
                    </a:moveTo>
                    <a:cubicBezTo>
                      <a:pt x="109452" y="230563"/>
                      <a:pt x="178259" y="267568"/>
                      <a:pt x="255018" y="287050"/>
                    </a:cubicBezTo>
                    <a:cubicBezTo>
                      <a:pt x="277954" y="292930"/>
                      <a:pt x="302273" y="296042"/>
                      <a:pt x="325900" y="295351"/>
                    </a:cubicBezTo>
                    <a:cubicBezTo>
                      <a:pt x="361860" y="294198"/>
                      <a:pt x="389636" y="277367"/>
                      <a:pt x="400585" y="240707"/>
                    </a:cubicBezTo>
                    <a:cubicBezTo>
                      <a:pt x="420294" y="174421"/>
                      <a:pt x="437005" y="107557"/>
                      <a:pt x="439310" y="37928"/>
                    </a:cubicBezTo>
                    <a:cubicBezTo>
                      <a:pt x="440348" y="8646"/>
                      <a:pt x="438504" y="1499"/>
                      <a:pt x="450490" y="0"/>
                    </a:cubicBezTo>
                    <a:lnTo>
                      <a:pt x="17363" y="0"/>
                    </a:lnTo>
                    <a:cubicBezTo>
                      <a:pt x="19784" y="1038"/>
                      <a:pt x="21052" y="2882"/>
                      <a:pt x="21282" y="5418"/>
                    </a:cubicBezTo>
                    <a:cubicBezTo>
                      <a:pt x="15289" y="26630"/>
                      <a:pt x="7797" y="47611"/>
                      <a:pt x="3533" y="69169"/>
                    </a:cubicBezTo>
                    <a:cubicBezTo>
                      <a:pt x="-5688" y="115742"/>
                      <a:pt x="1574" y="157705"/>
                      <a:pt x="44103" y="18652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41" name="Freeform 340">
                <a:extLst>
                  <a:ext uri="{FF2B5EF4-FFF2-40B4-BE49-F238E27FC236}">
                    <a16:creationId xmlns:a16="http://schemas.microsoft.com/office/drawing/2014/main" id="{3D808C9A-51EC-78A4-CCF5-B6EA6C9AA5A9}"/>
                  </a:ext>
                </a:extLst>
              </p:cNvPr>
              <p:cNvSpPr/>
              <p:nvPr/>
            </p:nvSpPr>
            <p:spPr>
              <a:xfrm>
                <a:off x="5292096" y="6662879"/>
                <a:ext cx="245046" cy="193968"/>
              </a:xfrm>
              <a:custGeom>
                <a:avLst/>
                <a:gdLst>
                  <a:gd name="connsiteX0" fmla="*/ 204532 w 245046"/>
                  <a:gd name="connsiteY0" fmla="*/ 30730 h 193968"/>
                  <a:gd name="connsiteX1" fmla="*/ 68531 w 245046"/>
                  <a:gd name="connsiteY1" fmla="*/ 16089 h 193968"/>
                  <a:gd name="connsiteX2" fmla="*/ 9867 w 245046"/>
                  <a:gd name="connsiteY2" fmla="*/ 80531 h 193968"/>
                  <a:gd name="connsiteX3" fmla="*/ 21392 w 245046"/>
                  <a:gd name="connsiteY3" fmla="*/ 193968 h 193968"/>
                  <a:gd name="connsiteX4" fmla="*/ 227352 w 245046"/>
                  <a:gd name="connsiteY4" fmla="*/ 193968 h 193968"/>
                  <a:gd name="connsiteX5" fmla="*/ 204532 w 245046"/>
                  <a:gd name="connsiteY5" fmla="*/ 30845 h 193968"/>
                  <a:gd name="connsiteX6" fmla="*/ 121433 w 245046"/>
                  <a:gd name="connsiteY6" fmla="*/ 155580 h 193968"/>
                  <a:gd name="connsiteX7" fmla="*/ 91237 w 245046"/>
                  <a:gd name="connsiteY7" fmla="*/ 124684 h 193968"/>
                  <a:gd name="connsiteX8" fmla="*/ 126274 w 245046"/>
                  <a:gd name="connsiteY8" fmla="*/ 91022 h 193968"/>
                  <a:gd name="connsiteX9" fmla="*/ 157278 w 245046"/>
                  <a:gd name="connsiteY9" fmla="*/ 120534 h 193968"/>
                  <a:gd name="connsiteX10" fmla="*/ 121433 w 245046"/>
                  <a:gd name="connsiteY10" fmla="*/ 155580 h 19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5046" h="193968">
                    <a:moveTo>
                      <a:pt x="204532" y="30730"/>
                    </a:moveTo>
                    <a:cubicBezTo>
                      <a:pt x="163271" y="-4200"/>
                      <a:pt x="112559" y="-9734"/>
                      <a:pt x="68531" y="16089"/>
                    </a:cubicBezTo>
                    <a:cubicBezTo>
                      <a:pt x="42369" y="31421"/>
                      <a:pt x="22891" y="53094"/>
                      <a:pt x="9867" y="80531"/>
                    </a:cubicBezTo>
                    <a:cubicBezTo>
                      <a:pt x="-8228" y="118689"/>
                      <a:pt x="301" y="155349"/>
                      <a:pt x="21392" y="193968"/>
                    </a:cubicBezTo>
                    <a:lnTo>
                      <a:pt x="227352" y="193968"/>
                    </a:lnTo>
                    <a:cubicBezTo>
                      <a:pt x="256166" y="115577"/>
                      <a:pt x="250634" y="69926"/>
                      <a:pt x="204532" y="30845"/>
                    </a:cubicBezTo>
                    <a:close/>
                    <a:moveTo>
                      <a:pt x="121433" y="155580"/>
                    </a:moveTo>
                    <a:cubicBezTo>
                      <a:pt x="108525" y="154888"/>
                      <a:pt x="91006" y="136904"/>
                      <a:pt x="91237" y="124684"/>
                    </a:cubicBezTo>
                    <a:cubicBezTo>
                      <a:pt x="91582" y="111196"/>
                      <a:pt x="112559" y="90907"/>
                      <a:pt x="126274" y="91022"/>
                    </a:cubicBezTo>
                    <a:cubicBezTo>
                      <a:pt x="140105" y="91022"/>
                      <a:pt x="157393" y="107507"/>
                      <a:pt x="157278" y="120534"/>
                    </a:cubicBezTo>
                    <a:cubicBezTo>
                      <a:pt x="157162" y="137019"/>
                      <a:pt x="137223" y="156502"/>
                      <a:pt x="121433" y="15558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42" name="Freeform 341">
                <a:extLst>
                  <a:ext uri="{FF2B5EF4-FFF2-40B4-BE49-F238E27FC236}">
                    <a16:creationId xmlns:a16="http://schemas.microsoft.com/office/drawing/2014/main" id="{97A201E5-7E91-BF07-B525-EFEC6FED0DD5}"/>
                  </a:ext>
                </a:extLst>
              </p:cNvPr>
              <p:cNvSpPr/>
              <p:nvPr/>
            </p:nvSpPr>
            <p:spPr>
              <a:xfrm>
                <a:off x="4441587" y="6706098"/>
                <a:ext cx="388638" cy="150749"/>
              </a:xfrm>
              <a:custGeom>
                <a:avLst/>
                <a:gdLst>
                  <a:gd name="connsiteX0" fmla="*/ 359940 w 388638"/>
                  <a:gd name="connsiteY0" fmla="*/ 130921 h 150749"/>
                  <a:gd name="connsiteX1" fmla="*/ 267621 w 388638"/>
                  <a:gd name="connsiteY1" fmla="*/ 26707 h 150749"/>
                  <a:gd name="connsiteX2" fmla="*/ 119519 w 388638"/>
                  <a:gd name="connsiteY2" fmla="*/ 28206 h 150749"/>
                  <a:gd name="connsiteX3" fmla="*/ 24780 w 388638"/>
                  <a:gd name="connsiteY3" fmla="*/ 131152 h 150749"/>
                  <a:gd name="connsiteX4" fmla="*/ 0 w 388638"/>
                  <a:gd name="connsiteY4" fmla="*/ 150750 h 150749"/>
                  <a:gd name="connsiteX5" fmla="*/ 388639 w 388638"/>
                  <a:gd name="connsiteY5" fmla="*/ 150750 h 150749"/>
                  <a:gd name="connsiteX6" fmla="*/ 359825 w 388638"/>
                  <a:gd name="connsiteY6" fmla="*/ 130806 h 150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8638" h="150749">
                    <a:moveTo>
                      <a:pt x="359940" y="130921"/>
                    </a:moveTo>
                    <a:cubicBezTo>
                      <a:pt x="340001" y="86999"/>
                      <a:pt x="307269" y="53567"/>
                      <a:pt x="267621" y="26707"/>
                    </a:cubicBezTo>
                    <a:cubicBezTo>
                      <a:pt x="214258" y="-9376"/>
                      <a:pt x="172767" y="-8915"/>
                      <a:pt x="119519" y="28206"/>
                    </a:cubicBezTo>
                    <a:cubicBezTo>
                      <a:pt x="80448" y="55527"/>
                      <a:pt x="48522" y="89881"/>
                      <a:pt x="24780" y="131152"/>
                    </a:cubicBezTo>
                    <a:cubicBezTo>
                      <a:pt x="18210" y="142565"/>
                      <a:pt x="10834" y="149251"/>
                      <a:pt x="0" y="150750"/>
                    </a:cubicBezTo>
                    <a:lnTo>
                      <a:pt x="388639" y="150750"/>
                    </a:lnTo>
                    <a:cubicBezTo>
                      <a:pt x="375269" y="149943"/>
                      <a:pt x="366510" y="145447"/>
                      <a:pt x="359825" y="13080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47656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881D595-08FF-8A95-A623-549F87637A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0D2C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0664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00671" y="3611595"/>
            <a:ext cx="10985502" cy="952502"/>
          </a:xfrm>
          <a:prstGeom prst="rect">
            <a:avLst/>
          </a:prstGeom>
        </p:spPr>
        <p:txBody>
          <a:bodyPr numCol="1" spcCol="38100"/>
          <a:lstStyle>
            <a:lvl1pPr marL="0" indent="0">
              <a:lnSpc>
                <a:spcPct val="100000"/>
              </a:lnSpc>
              <a:spcBef>
                <a:spcPts val="0"/>
              </a:spcBef>
              <a:defRPr sz="2600"/>
            </a:lvl1pPr>
            <a:lvl2pPr marL="635000" indent="-330200">
              <a:lnSpc>
                <a:spcPct val="100000"/>
              </a:lnSpc>
              <a:spcBef>
                <a:spcPts val="0"/>
              </a:spcBef>
              <a:defRPr sz="2600"/>
            </a:lvl2pPr>
            <a:lvl3pPr marL="939800" indent="-330200">
              <a:lnSpc>
                <a:spcPct val="100000"/>
              </a:lnSpc>
              <a:spcBef>
                <a:spcPts val="0"/>
              </a:spcBef>
              <a:defRPr sz="2600"/>
            </a:lvl3pPr>
            <a:lvl4pPr marL="1244600" indent="-330200">
              <a:lnSpc>
                <a:spcPct val="100000"/>
              </a:lnSpc>
              <a:spcBef>
                <a:spcPts val="0"/>
              </a:spcBef>
              <a:defRPr sz="2600"/>
            </a:lvl4pPr>
            <a:lvl5pPr marL="1549400" indent="-330200">
              <a:lnSpc>
                <a:spcPct val="100000"/>
              </a:lnSpc>
              <a:spcBef>
                <a:spcPts val="0"/>
              </a:spcBef>
              <a:defRPr sz="26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8" name="Title Text"/>
          <p:cNvSpPr txBox="1">
            <a:spLocks noGrp="1"/>
          </p:cNvSpPr>
          <p:nvPr>
            <p:ph type="title"/>
          </p:nvPr>
        </p:nvSpPr>
        <p:spPr>
          <a:xfrm>
            <a:off x="603248" y="1287496"/>
            <a:ext cx="10985503" cy="2324102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39" name="Body Level One…"/>
          <p:cNvSpPr txBox="1">
            <a:spLocks noGrp="1"/>
          </p:cNvSpPr>
          <p:nvPr>
            <p:ph type="body" sz="quarter" idx="21"/>
          </p:nvPr>
        </p:nvSpPr>
        <p:spPr>
          <a:xfrm>
            <a:off x="600669" y="5929931"/>
            <a:ext cx="10985504" cy="318491"/>
          </a:xfrm>
          <a:prstGeom prst="rect">
            <a:avLst/>
          </a:prstGeom>
        </p:spPr>
        <p:txBody>
          <a:bodyPr lIns="45718" tIns="45718" rIns="45718" bIns="45718" numCol="1" spcCol="38100"/>
          <a:lstStyle/>
          <a:p>
            <a:pPr marL="0" indent="0">
              <a:lnSpc>
                <a:spcPct val="100000"/>
              </a:lnSpc>
              <a:spcBef>
                <a:spcPts val="0"/>
              </a:spcBef>
              <a:defRPr sz="3600"/>
            </a:pPr>
            <a:endParaRPr/>
          </a:p>
        </p:txBody>
      </p:sp>
      <p:sp>
        <p:nvSpPr>
          <p:cNvPr id="1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00750" y="5270500"/>
            <a:ext cx="184252" cy="187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19461818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tio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5CECD35-230B-4344-A272-425FB6F857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  <p:sp>
        <p:nvSpPr>
          <p:cNvPr id="3" name="Номер слайда 21">
            <a:extLst>
              <a:ext uri="{FF2B5EF4-FFF2-40B4-BE49-F238E27FC236}">
                <a16:creationId xmlns:a16="http://schemas.microsoft.com/office/drawing/2014/main" id="{5D720625-620B-DE44-88BF-C78E28937689}"/>
              </a:ext>
            </a:extLst>
          </p:cNvPr>
          <p:cNvSpPr txBox="1">
            <a:spLocks/>
          </p:cNvSpPr>
          <p:nvPr userDrawn="1"/>
        </p:nvSpPr>
        <p:spPr>
          <a:xfrm>
            <a:off x="11652621" y="92689"/>
            <a:ext cx="513735" cy="2271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330" rtl="0" eaLnBrk="1" latinLnBrk="0" hangingPunct="1">
              <a:defRPr sz="1000" b="0" i="0" kern="1200">
                <a:solidFill>
                  <a:schemeClr val="tx1">
                    <a:alpha val="70000"/>
                  </a:schemeClr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5434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B73D46A5-19AE-BE49-B940-D5792010C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0"/>
            <a:ext cx="10764837" cy="1621619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0662FD4-63A9-574F-A8FC-A6F647C7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2855871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B73D46A5-19AE-BE49-B940-D5792010C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0"/>
            <a:ext cx="10764837" cy="1621619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</p:spTree>
    <p:extLst>
      <p:ext uri="{BB962C8B-B14F-4D97-AF65-F5344CB8AC3E}">
        <p14:creationId xmlns:p14="http://schemas.microsoft.com/office/powerpoint/2010/main" val="10693787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 (No 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B73D46A5-19AE-BE49-B940-D5792010C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112395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7CD49EC-5143-F540-A317-976857B611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630416"/>
            <a:ext cx="114803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08130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(Circle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784676" y="1775012"/>
            <a:ext cx="4924748" cy="1982601"/>
          </a:xfrm>
          <a:prstGeom prst="rect">
            <a:avLst/>
          </a:prstGeom>
        </p:spPr>
        <p:txBody>
          <a:bodyPr/>
          <a:lstStyle>
            <a:lvl1pPr>
              <a:lnSpc>
                <a:spcPts val="5000"/>
              </a:lnSpc>
              <a:defRPr sz="48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C6BC4F9-00EC-3643-91C6-E41EBE62C58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1998" y="-1242526"/>
            <a:ext cx="6670083" cy="6636237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l">
              <a:defRPr sz="1400" b="0" baseline="0"/>
            </a:lvl1pPr>
          </a:lstStyle>
          <a:p>
            <a:r>
              <a:rPr lang="en-US"/>
              <a:t>Click the image icon in the center of this placeholder, then select the image of your choice.</a:t>
            </a:r>
            <a:br>
              <a:rPr lang="en-US"/>
            </a:br>
            <a:br>
              <a:rPr lang="en-US"/>
            </a:br>
            <a:r>
              <a:rPr lang="en-US"/>
              <a:t>If the image doesn’t appear where you would like, </a:t>
            </a:r>
            <a:br>
              <a:rPr lang="en-US"/>
            </a:br>
            <a:r>
              <a:rPr lang="en-US"/>
              <a:t>select the image and the PICTURE TOOLS menu will appear. Select FORMAT, select CROP and then manually position image where you would like within the placeholder.</a:t>
            </a:r>
            <a:br>
              <a:rPr lang="en-US"/>
            </a:br>
            <a:br>
              <a:rPr lang="en-US"/>
            </a:br>
            <a:r>
              <a:rPr lang="en-US"/>
              <a:t>Once image is in the position you would like, hit ESC.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AAC44EF-B04D-D74F-AB59-E24EC9D15E33}"/>
              </a:ext>
            </a:extLst>
          </p:cNvPr>
          <p:cNvSpPr/>
          <p:nvPr userDrawn="1"/>
        </p:nvSpPr>
        <p:spPr>
          <a:xfrm>
            <a:off x="6055103" y="-1131177"/>
            <a:ext cx="6464338" cy="6464338"/>
          </a:xfrm>
          <a:prstGeom prst="ellipse">
            <a:avLst/>
          </a:prstGeom>
          <a:noFill/>
          <a:ln w="38100">
            <a:solidFill>
              <a:schemeClr val="accent2">
                <a:alpha val="2220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5FAE671-CE1A-694B-B115-9ADD197D9438}"/>
              </a:ext>
            </a:extLst>
          </p:cNvPr>
          <p:cNvSpPr/>
          <p:nvPr userDrawn="1"/>
        </p:nvSpPr>
        <p:spPr>
          <a:xfrm>
            <a:off x="11635780" y="4763790"/>
            <a:ext cx="371794" cy="371794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56FE32A-A6AE-894D-A8C0-E0F8EF302299}"/>
              </a:ext>
            </a:extLst>
          </p:cNvPr>
          <p:cNvSpPr/>
          <p:nvPr userDrawn="1"/>
        </p:nvSpPr>
        <p:spPr>
          <a:xfrm>
            <a:off x="6571458" y="4171154"/>
            <a:ext cx="168594" cy="168594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BF5A57-BDCF-8644-B03C-E64C663B99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4676" y="3808509"/>
            <a:ext cx="4924748" cy="955281"/>
          </a:xfrm>
          <a:prstGeom prst="rect">
            <a:avLst/>
          </a:prstGeom>
        </p:spPr>
        <p:txBody>
          <a:bodyPr/>
          <a:lstStyle>
            <a:lvl2pPr>
              <a:lnSpc>
                <a:spcPts val="2200"/>
              </a:lnSpc>
              <a:defRPr sz="2000" baseline="0">
                <a:solidFill>
                  <a:schemeClr val="tx2"/>
                </a:solidFill>
              </a:defRPr>
            </a:lvl2pPr>
          </a:lstStyle>
          <a:p>
            <a:pPr lvl="1"/>
            <a:r>
              <a:rPr lang="en-US"/>
              <a:t>Date or Caption tex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44CC497-AAD7-5C4B-A4A0-027CC40875D2}"/>
              </a:ext>
            </a:extLst>
          </p:cNvPr>
          <p:cNvSpPr/>
          <p:nvPr userDrawn="1"/>
        </p:nvSpPr>
        <p:spPr>
          <a:xfrm>
            <a:off x="6031432" y="1411357"/>
            <a:ext cx="79174" cy="79174"/>
          </a:xfrm>
          <a:prstGeom prst="ellipse">
            <a:avLst/>
          </a:prstGeom>
          <a:solidFill>
            <a:schemeClr val="accent5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4730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 + Title +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B73D46A5-19AE-BE49-B940-D5792010C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112395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7CD49EC-5143-F540-A317-976857B611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630416"/>
            <a:ext cx="114803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F5275AF-AA99-AE4C-970C-1752F4C66F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  <p:sp>
        <p:nvSpPr>
          <p:cNvPr id="6" name="Номер слайда 21">
            <a:extLst>
              <a:ext uri="{FF2B5EF4-FFF2-40B4-BE49-F238E27FC236}">
                <a16:creationId xmlns:a16="http://schemas.microsoft.com/office/drawing/2014/main" id="{861BE9D6-AC70-C74F-AA00-64081FB7364D}"/>
              </a:ext>
            </a:extLst>
          </p:cNvPr>
          <p:cNvSpPr txBox="1">
            <a:spLocks/>
          </p:cNvSpPr>
          <p:nvPr userDrawn="1"/>
        </p:nvSpPr>
        <p:spPr>
          <a:xfrm>
            <a:off x="11652621" y="92689"/>
            <a:ext cx="513735" cy="2271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330" rtl="0" eaLnBrk="1" latinLnBrk="0" hangingPunct="1">
              <a:defRPr sz="1000" b="0" i="0" kern="1200">
                <a:solidFill>
                  <a:schemeClr val="tx1">
                    <a:alpha val="70000"/>
                  </a:schemeClr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060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+ Content r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1033765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3E4F2C31-1BB6-BD4E-AF74-DC367CD8ED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2133601"/>
            <a:ext cx="4803648" cy="45476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24000" anchor="ctr" anchorCtr="1">
            <a:norm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an imag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9639389-E315-5E45-AF12-B5481C498C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801" y="2133850"/>
            <a:ext cx="608638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5827F51-90DD-454A-AB12-94C9535879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7034201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+ Content right (No 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1033765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3E4F2C31-1BB6-BD4E-AF74-DC367CD8ED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2133601"/>
            <a:ext cx="4803648" cy="45476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24000" anchor="ctr" anchorCtr="1">
            <a:norm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an imag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9639389-E315-5E45-AF12-B5481C498C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801" y="2133850"/>
            <a:ext cx="608638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32113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1126232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1921011-C713-3440-88F9-219552DB328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137400" y="2133601"/>
            <a:ext cx="5054600" cy="45476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80000" anchor="ctr" anchorCtr="1">
            <a:normAutofit/>
          </a:bodyPr>
          <a:lstStyle>
            <a:lvl1pPr marL="0" marR="0" indent="0" algn="l" defTabSz="914318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an imag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14556220-D3A8-5246-9D10-CA5F16E117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804" y="6048679"/>
            <a:ext cx="815392" cy="483780"/>
          </a:xfrm>
          <a:prstGeom prst="rect">
            <a:avLst/>
          </a:prstGeom>
        </p:spPr>
      </p:pic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EC6FF3D-40F8-7C4A-9747-252A9BC7E5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3FC363-7B90-A745-AD10-EAFF0C5F6F3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5438" y="2103438"/>
            <a:ext cx="6695122" cy="44396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28820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placeholder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859104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806A19A-A8FE-4047-95CF-0A31013A5535}"/>
              </a:ext>
            </a:extLst>
          </p:cNvPr>
          <p:cNvSpPr/>
          <p:nvPr userDrawn="1"/>
        </p:nvSpPr>
        <p:spPr>
          <a:xfrm>
            <a:off x="9884387" y="-566933"/>
            <a:ext cx="1133866" cy="1133866"/>
          </a:xfrm>
          <a:prstGeom prst="ellipse">
            <a:avLst/>
          </a:prstGeom>
          <a:solidFill>
            <a:schemeClr val="bg1">
              <a:lumMod val="85000"/>
              <a:alpha val="9745"/>
            </a:schemeClr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14556220-D3A8-5246-9D10-CA5F16E117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804" y="6048679"/>
            <a:ext cx="815392" cy="483780"/>
          </a:xfrm>
          <a:prstGeom prst="rect">
            <a:avLst/>
          </a:prstGeom>
        </p:spPr>
      </p:pic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6D380CE5-692E-4E43-81AF-A49F0718E7C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038172" y="1852772"/>
            <a:ext cx="2705091" cy="266215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01600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lIns="180000" anchor="ctr" anchorCtr="1">
            <a:normAutofit/>
          </a:bodyPr>
          <a:lstStyle>
            <a:lvl1pPr marL="0" marR="0" indent="0" algn="ctr" defTabSz="914318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</a:t>
            </a:r>
            <a:br>
              <a:rPr lang="en-US"/>
            </a:br>
            <a:r>
              <a:rPr lang="en-US"/>
              <a:t>an imag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99D7B4E-6B4B-EB4B-AE0C-D650DFBF738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42963" y="4673898"/>
            <a:ext cx="3223809" cy="19340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000"/>
              </a:lnSpc>
              <a:defRPr sz="1600"/>
            </a:lvl1pPr>
            <a:lvl2pPr>
              <a:defRPr sz="1400"/>
            </a:lvl2pPr>
            <a:lvl3pPr>
              <a:defRPr sz="10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67AA2047-10DF-3C45-A4EC-26D3F5ED72A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98049" y="1871608"/>
            <a:ext cx="2705091" cy="266215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01600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lIns="180000" anchor="ctr" anchorCtr="1">
            <a:normAutofit/>
          </a:bodyPr>
          <a:lstStyle>
            <a:lvl1pPr marL="0" marR="0" indent="0" algn="ctr" defTabSz="914318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</a:t>
            </a:r>
            <a:br>
              <a:rPr lang="en-US"/>
            </a:br>
            <a:r>
              <a:rPr lang="en-US"/>
              <a:t>an imag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C73FCC1-701C-1542-8092-FE82592BDB7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72017" y="4692734"/>
            <a:ext cx="3223809" cy="19340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000"/>
              </a:lnSpc>
              <a:defRPr sz="1600"/>
            </a:lvl1pPr>
            <a:lvl2pPr>
              <a:defRPr sz="1400"/>
            </a:lvl2pPr>
            <a:lvl3pPr>
              <a:defRPr sz="10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E184786-CFFD-D64E-9E6A-96A055772D5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292290" y="1839074"/>
            <a:ext cx="2705091" cy="266215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01600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lIns="180000" anchor="ctr" anchorCtr="1">
            <a:normAutofit/>
          </a:bodyPr>
          <a:lstStyle>
            <a:lvl1pPr marL="0" marR="0" indent="0" algn="ctr" defTabSz="914318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</a:t>
            </a:r>
            <a:br>
              <a:rPr lang="en-US"/>
            </a:br>
            <a:r>
              <a:rPr lang="en-US"/>
              <a:t>an imag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BB2BB01-A9F2-3D44-A757-B1E592AE26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7081" y="4701296"/>
            <a:ext cx="3223809" cy="19340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000"/>
              </a:lnSpc>
              <a:defRPr sz="1600"/>
            </a:lvl1pPr>
            <a:lvl2pPr>
              <a:defRPr sz="1400"/>
            </a:lvl2pPr>
            <a:lvl3pPr>
              <a:defRPr sz="10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14D014E-CAA7-9245-A0BB-7DF27D06B6A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27773399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 placeholder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859104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806A19A-A8FE-4047-95CF-0A31013A5535}"/>
              </a:ext>
            </a:extLst>
          </p:cNvPr>
          <p:cNvSpPr/>
          <p:nvPr userDrawn="1"/>
        </p:nvSpPr>
        <p:spPr>
          <a:xfrm>
            <a:off x="9884387" y="-566933"/>
            <a:ext cx="1133866" cy="1133866"/>
          </a:xfrm>
          <a:prstGeom prst="ellipse">
            <a:avLst/>
          </a:prstGeom>
          <a:solidFill>
            <a:schemeClr val="bg1">
              <a:lumMod val="85000"/>
              <a:alpha val="9745"/>
            </a:schemeClr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14556220-D3A8-5246-9D10-CA5F16E117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804" y="6048679"/>
            <a:ext cx="815392" cy="483780"/>
          </a:xfrm>
          <a:prstGeom prst="rect">
            <a:avLst/>
          </a:prstGeom>
        </p:spPr>
      </p:pic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99D7B4E-6B4B-EB4B-AE0C-D650DFBF738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42963" y="4673898"/>
            <a:ext cx="3223809" cy="19340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000"/>
              </a:lnSpc>
              <a:defRPr sz="1600"/>
            </a:lvl1pPr>
            <a:lvl2pPr>
              <a:defRPr sz="1400"/>
            </a:lvl2pPr>
            <a:lvl3pPr>
              <a:defRPr sz="10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C73FCC1-701C-1542-8092-FE82592BDB7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72017" y="4692734"/>
            <a:ext cx="3223809" cy="19340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000"/>
              </a:lnSpc>
              <a:defRPr sz="1600"/>
            </a:lvl1pPr>
            <a:lvl2pPr>
              <a:defRPr sz="1400"/>
            </a:lvl2pPr>
            <a:lvl3pPr>
              <a:defRPr sz="10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BB2BB01-A9F2-3D44-A757-B1E592AE26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7081" y="4701296"/>
            <a:ext cx="3223809" cy="19340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000"/>
              </a:lnSpc>
              <a:defRPr sz="1600"/>
            </a:lvl1pPr>
            <a:lvl2pPr>
              <a:defRPr sz="1400"/>
            </a:lvl2pPr>
            <a:lvl3pPr>
              <a:defRPr sz="10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14D014E-CAA7-9245-A0BB-7DF27D06B6A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none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272BA3D8-5115-DC43-A5EE-8FA5F6AB346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24400" y="1879600"/>
            <a:ext cx="2636313" cy="2667000"/>
          </a:xfrm>
          <a:prstGeom prst="ellipse">
            <a:avLst/>
          </a:prstGeom>
          <a:solidFill>
            <a:schemeClr val="accent1"/>
          </a:solidFill>
        </p:spPr>
        <p:txBody>
          <a:bodyPr wrap="square" lIns="432000" anchor="ctr" anchorCtr="0">
            <a:norm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none" baseline="0">
                <a:noFill/>
              </a:defRPr>
            </a:lvl2pPr>
          </a:lstStyle>
          <a:p>
            <a:pPr lvl="1"/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2C87F627-9899-2247-960D-F03E91A7F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18500" y="1854200"/>
            <a:ext cx="2636313" cy="2667000"/>
          </a:xfrm>
          <a:prstGeom prst="ellipse">
            <a:avLst/>
          </a:prstGeom>
          <a:solidFill>
            <a:schemeClr val="accent1"/>
          </a:solidFill>
        </p:spPr>
        <p:txBody>
          <a:bodyPr wrap="square" lIns="432000" anchor="ctr" anchorCtr="0">
            <a:norm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none" baseline="0">
                <a:noFill/>
              </a:defRPr>
            </a:lvl2pPr>
          </a:lstStyle>
          <a:p>
            <a:pPr lvl="1"/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7B396D87-9C6C-4148-AFD6-83D56B15B1F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66800" y="1866900"/>
            <a:ext cx="2636313" cy="2667000"/>
          </a:xfrm>
          <a:prstGeom prst="ellipse">
            <a:avLst/>
          </a:prstGeom>
          <a:solidFill>
            <a:schemeClr val="accent1"/>
          </a:solidFill>
        </p:spPr>
        <p:txBody>
          <a:bodyPr wrap="square" lIns="432000" anchor="ctr" anchorCtr="0">
            <a:norm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none" baseline="0">
                <a:noFill/>
              </a:defRPr>
            </a:lvl2pPr>
          </a:lstStyle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5233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Image placeholder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859104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806A19A-A8FE-4047-95CF-0A31013A5535}"/>
              </a:ext>
            </a:extLst>
          </p:cNvPr>
          <p:cNvSpPr/>
          <p:nvPr userDrawn="1"/>
        </p:nvSpPr>
        <p:spPr>
          <a:xfrm>
            <a:off x="9884387" y="-566933"/>
            <a:ext cx="1133866" cy="1133866"/>
          </a:xfrm>
          <a:prstGeom prst="ellipse">
            <a:avLst/>
          </a:prstGeom>
          <a:solidFill>
            <a:schemeClr val="bg1">
              <a:lumMod val="85000"/>
              <a:alpha val="9745"/>
            </a:schemeClr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14556220-D3A8-5246-9D10-CA5F16E117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804" y="6048679"/>
            <a:ext cx="815392" cy="483780"/>
          </a:xfrm>
          <a:prstGeom prst="rect">
            <a:avLst/>
          </a:prstGeom>
        </p:spPr>
      </p:pic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6D380CE5-692E-4E43-81AF-A49F0718E7C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88878" y="1852772"/>
            <a:ext cx="2705091" cy="266215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01600">
            <a:solidFill>
              <a:schemeClr val="bg2"/>
            </a:solidFill>
          </a:ln>
        </p:spPr>
        <p:txBody>
          <a:bodyPr lIns="180000" anchor="ctr" anchorCtr="1">
            <a:normAutofit/>
          </a:bodyPr>
          <a:lstStyle>
            <a:lvl1pPr marL="0" marR="0" indent="0" algn="ctr" defTabSz="914318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</a:t>
            </a:r>
            <a:br>
              <a:rPr lang="en-US"/>
            </a:br>
            <a:r>
              <a:rPr lang="en-US"/>
              <a:t>an imag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99D7B4E-6B4B-EB4B-AE0C-D650DFBF738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93669" y="4601979"/>
            <a:ext cx="3223809" cy="19340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000"/>
              </a:lnSpc>
              <a:defRPr sz="2000"/>
            </a:lvl1pPr>
            <a:lvl2pPr>
              <a:defRPr sz="16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67AA2047-10DF-3C45-A4EC-26D3F5ED72A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32997" y="1871608"/>
            <a:ext cx="2705091" cy="266215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01600">
            <a:solidFill>
              <a:schemeClr val="bg2"/>
            </a:solidFill>
          </a:ln>
        </p:spPr>
        <p:txBody>
          <a:bodyPr lIns="180000" anchor="ctr" anchorCtr="1">
            <a:normAutofit/>
          </a:bodyPr>
          <a:lstStyle>
            <a:lvl1pPr marL="0" marR="0" indent="0" algn="ctr" defTabSz="914318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</a:t>
            </a:r>
            <a:br>
              <a:rPr lang="en-US"/>
            </a:br>
            <a:r>
              <a:rPr lang="en-US"/>
              <a:t>an imag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C73FCC1-701C-1542-8092-FE82592BDB7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396691" y="4589993"/>
            <a:ext cx="3223809" cy="19340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000"/>
              </a:lnSpc>
              <a:defRPr sz="2000"/>
            </a:lvl1pPr>
            <a:lvl2pPr>
              <a:defRPr sz="16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812249-4077-AC4C-A97E-B6EEC65F1B4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4963" y="2012950"/>
            <a:ext cx="4504165" cy="4479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0C3EF7ED-0437-D24F-AB50-498859F199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1988593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Image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1921011-C713-3440-88F9-219552DB328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226300" y="-718869"/>
            <a:ext cx="6019800" cy="5924259"/>
          </a:xfrm>
          <a:prstGeom prst="ellipse">
            <a:avLst/>
          </a:prstGeom>
          <a:solidFill>
            <a:schemeClr val="bg1">
              <a:lumMod val="95000"/>
              <a:alpha val="80498"/>
            </a:schemeClr>
          </a:solidFill>
        </p:spPr>
        <p:txBody>
          <a:bodyPr lIns="180000" anchor="ctr" anchorCtr="1">
            <a:normAutofit/>
          </a:bodyPr>
          <a:lstStyle>
            <a:lvl1pPr marL="0" marR="0" indent="0" algn="ctr" defTabSz="914318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</a:t>
            </a:r>
            <a:br>
              <a:rPr lang="en-US"/>
            </a:br>
            <a:r>
              <a:rPr lang="en-US"/>
              <a:t>an imag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6700838" cy="1213358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806A19A-A8FE-4047-95CF-0A31013A5535}"/>
              </a:ext>
            </a:extLst>
          </p:cNvPr>
          <p:cNvSpPr/>
          <p:nvPr userDrawn="1"/>
        </p:nvSpPr>
        <p:spPr>
          <a:xfrm>
            <a:off x="9483695" y="800100"/>
            <a:ext cx="1133866" cy="1133866"/>
          </a:xfrm>
          <a:prstGeom prst="ellipse">
            <a:avLst/>
          </a:prstGeom>
          <a:solidFill>
            <a:schemeClr val="bg1">
              <a:lumMod val="85000"/>
              <a:alpha val="9745"/>
            </a:schemeClr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14556220-D3A8-5246-9D10-CA5F16E117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804" y="6048679"/>
            <a:ext cx="815392" cy="483780"/>
          </a:xfrm>
          <a:prstGeom prst="rect">
            <a:avLst/>
          </a:prstGeom>
        </p:spPr>
      </p:pic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184524EB-6B22-874A-840E-A5B4F9125FC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64400" y="3264910"/>
            <a:ext cx="3200400" cy="314960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01600">
            <a:solidFill>
              <a:schemeClr val="bg1"/>
            </a:solidFill>
          </a:ln>
        </p:spPr>
        <p:txBody>
          <a:bodyPr lIns="180000" anchor="ctr" anchorCtr="1">
            <a:normAutofit/>
          </a:bodyPr>
          <a:lstStyle>
            <a:lvl1pPr marL="0" marR="0" indent="0" algn="ctr" defTabSz="914318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</a:t>
            </a:r>
            <a:br>
              <a:rPr lang="en-US"/>
            </a:br>
            <a:r>
              <a:rPr lang="en-US"/>
              <a:t>an imag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50A21D5A-4ADC-AB4D-BA58-C7E6D56221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157413"/>
            <a:ext cx="6713109" cy="42844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A33BE27-3007-8443-A00D-5536C882F8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7355210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121833"/>
            <a:ext cx="9144000" cy="2387600"/>
          </a:xfrm>
        </p:spPr>
        <p:txBody>
          <a:bodyPr anchor="ctr">
            <a:normAutofit/>
          </a:bodyPr>
          <a:lstStyle>
            <a:lvl1pPr algn="ctr">
              <a:defRPr sz="5333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573"/>
            <a:ext cx="9144000" cy="1655233"/>
          </a:xfrm>
        </p:spPr>
        <p:txBody>
          <a:bodyPr/>
          <a:lstStyle>
            <a:lvl1pPr marL="0" indent="0" algn="ctr">
              <a:buNone/>
              <a:defRPr sz="3200">
                <a:latin typeface="+mn-lt"/>
              </a:defRPr>
            </a:lvl1pPr>
            <a:lvl2pPr marL="609539" indent="0" algn="ctr">
              <a:buNone/>
              <a:defRPr sz="2667"/>
            </a:lvl2pPr>
            <a:lvl3pPr marL="1219080" indent="0" algn="ctr">
              <a:buNone/>
              <a:defRPr sz="2400"/>
            </a:lvl3pPr>
            <a:lvl4pPr marL="1828618" indent="0" algn="ctr">
              <a:buNone/>
              <a:defRPr sz="2133"/>
            </a:lvl4pPr>
            <a:lvl5pPr marL="2438158" indent="0" algn="ctr">
              <a:buNone/>
              <a:defRPr sz="2133"/>
            </a:lvl5pPr>
            <a:lvl6pPr marL="3047696" indent="0" algn="ctr">
              <a:buNone/>
              <a:defRPr sz="2133"/>
            </a:lvl6pPr>
            <a:lvl7pPr marL="3657235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3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372299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913" y="211045"/>
            <a:ext cx="11763739" cy="817695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8913" y="1220757"/>
            <a:ext cx="11763739" cy="4704523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667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89535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>
            <a:extLst>
              <a:ext uri="{FF2B5EF4-FFF2-40B4-BE49-F238E27FC236}">
                <a16:creationId xmlns:a16="http://schemas.microsoft.com/office/drawing/2014/main" id="{44E26375-E97E-D084-BC76-07964A64EB06}"/>
              </a:ext>
            </a:extLst>
          </p:cNvPr>
          <p:cNvSpPr/>
          <p:nvPr userDrawn="1"/>
        </p:nvSpPr>
        <p:spPr>
          <a:xfrm>
            <a:off x="0" y="481331"/>
            <a:ext cx="13120071" cy="6376669"/>
          </a:xfrm>
          <a:custGeom>
            <a:avLst/>
            <a:gdLst/>
            <a:ahLst/>
            <a:cxnLst/>
            <a:rect l="l" t="t" r="r" b="b"/>
            <a:pathLst>
              <a:path w="17344390" h="7697470">
                <a:moveTo>
                  <a:pt x="17344327" y="7697229"/>
                </a:moveTo>
                <a:lnTo>
                  <a:pt x="14988655" y="1237653"/>
                </a:lnTo>
                <a:lnTo>
                  <a:pt x="14966963" y="1198905"/>
                </a:lnTo>
                <a:lnTo>
                  <a:pt x="14934235" y="1174038"/>
                </a:lnTo>
                <a:lnTo>
                  <a:pt x="14895411" y="1163472"/>
                </a:lnTo>
                <a:lnTo>
                  <a:pt x="14855432" y="1167625"/>
                </a:lnTo>
                <a:lnTo>
                  <a:pt x="14819198" y="1186891"/>
                </a:lnTo>
                <a:lnTo>
                  <a:pt x="14791665" y="1221701"/>
                </a:lnTo>
                <a:lnTo>
                  <a:pt x="14713992" y="1375892"/>
                </a:lnTo>
                <a:lnTo>
                  <a:pt x="13712889" y="3377628"/>
                </a:lnTo>
                <a:lnTo>
                  <a:pt x="13698398" y="3394900"/>
                </a:lnTo>
                <a:lnTo>
                  <a:pt x="13678700" y="3403333"/>
                </a:lnTo>
                <a:lnTo>
                  <a:pt x="13657275" y="3402330"/>
                </a:lnTo>
                <a:lnTo>
                  <a:pt x="13637616" y="3391268"/>
                </a:lnTo>
                <a:lnTo>
                  <a:pt x="13594487" y="3351060"/>
                </a:lnTo>
                <a:lnTo>
                  <a:pt x="13404723" y="3172053"/>
                </a:lnTo>
                <a:lnTo>
                  <a:pt x="12829705" y="2624975"/>
                </a:lnTo>
                <a:lnTo>
                  <a:pt x="12793713" y="2595994"/>
                </a:lnTo>
                <a:lnTo>
                  <a:pt x="12754877" y="2574328"/>
                </a:lnTo>
                <a:lnTo>
                  <a:pt x="12714046" y="2559774"/>
                </a:lnTo>
                <a:lnTo>
                  <a:pt x="12672060" y="2552179"/>
                </a:lnTo>
                <a:lnTo>
                  <a:pt x="12629769" y="2551341"/>
                </a:lnTo>
                <a:lnTo>
                  <a:pt x="12588024" y="2557068"/>
                </a:lnTo>
                <a:lnTo>
                  <a:pt x="12547651" y="2569197"/>
                </a:lnTo>
                <a:lnTo>
                  <a:pt x="12509525" y="2587523"/>
                </a:lnTo>
                <a:lnTo>
                  <a:pt x="12474473" y="2611869"/>
                </a:lnTo>
                <a:lnTo>
                  <a:pt x="12443358" y="2642057"/>
                </a:lnTo>
                <a:lnTo>
                  <a:pt x="12417019" y="2677884"/>
                </a:lnTo>
                <a:lnTo>
                  <a:pt x="12396305" y="2719184"/>
                </a:lnTo>
                <a:lnTo>
                  <a:pt x="12191721" y="3234753"/>
                </a:lnTo>
                <a:lnTo>
                  <a:pt x="11463426" y="1237653"/>
                </a:lnTo>
                <a:lnTo>
                  <a:pt x="11441735" y="1198905"/>
                </a:lnTo>
                <a:lnTo>
                  <a:pt x="11409007" y="1174038"/>
                </a:lnTo>
                <a:lnTo>
                  <a:pt x="11370183" y="1163472"/>
                </a:lnTo>
                <a:lnTo>
                  <a:pt x="11330203" y="1167625"/>
                </a:lnTo>
                <a:lnTo>
                  <a:pt x="11293970" y="1186891"/>
                </a:lnTo>
                <a:lnTo>
                  <a:pt x="11266437" y="1221701"/>
                </a:lnTo>
                <a:lnTo>
                  <a:pt x="11188776" y="1375892"/>
                </a:lnTo>
                <a:lnTo>
                  <a:pt x="10187661" y="3377628"/>
                </a:lnTo>
                <a:lnTo>
                  <a:pt x="10173183" y="3394900"/>
                </a:lnTo>
                <a:lnTo>
                  <a:pt x="10153472" y="3403333"/>
                </a:lnTo>
                <a:lnTo>
                  <a:pt x="10132047" y="3402330"/>
                </a:lnTo>
                <a:lnTo>
                  <a:pt x="10112388" y="3391268"/>
                </a:lnTo>
                <a:lnTo>
                  <a:pt x="10069258" y="3351060"/>
                </a:lnTo>
                <a:lnTo>
                  <a:pt x="9879495" y="3172053"/>
                </a:lnTo>
                <a:lnTo>
                  <a:pt x="9304477" y="2624975"/>
                </a:lnTo>
                <a:lnTo>
                  <a:pt x="9268485" y="2595994"/>
                </a:lnTo>
                <a:lnTo>
                  <a:pt x="9229661" y="2574328"/>
                </a:lnTo>
                <a:lnTo>
                  <a:pt x="9188818" y="2559774"/>
                </a:lnTo>
                <a:lnTo>
                  <a:pt x="9146832" y="2552179"/>
                </a:lnTo>
                <a:lnTo>
                  <a:pt x="9104541" y="2551341"/>
                </a:lnTo>
                <a:lnTo>
                  <a:pt x="9062796" y="2557068"/>
                </a:lnTo>
                <a:lnTo>
                  <a:pt x="9022423" y="2569197"/>
                </a:lnTo>
                <a:lnTo>
                  <a:pt x="8984297" y="2587523"/>
                </a:lnTo>
                <a:lnTo>
                  <a:pt x="8949245" y="2611869"/>
                </a:lnTo>
                <a:lnTo>
                  <a:pt x="8918130" y="2642057"/>
                </a:lnTo>
                <a:lnTo>
                  <a:pt x="8891791" y="2677884"/>
                </a:lnTo>
                <a:lnTo>
                  <a:pt x="8871077" y="2719184"/>
                </a:lnTo>
                <a:lnTo>
                  <a:pt x="8152790" y="4529340"/>
                </a:lnTo>
                <a:lnTo>
                  <a:pt x="6552565" y="1069657"/>
                </a:lnTo>
                <a:lnTo>
                  <a:pt x="6528359" y="1029309"/>
                </a:lnTo>
                <a:lnTo>
                  <a:pt x="6498196" y="995984"/>
                </a:lnTo>
                <a:lnTo>
                  <a:pt x="6463233" y="969797"/>
                </a:lnTo>
                <a:lnTo>
                  <a:pt x="6424638" y="950849"/>
                </a:lnTo>
                <a:lnTo>
                  <a:pt x="6383566" y="939253"/>
                </a:lnTo>
                <a:lnTo>
                  <a:pt x="6341186" y="935126"/>
                </a:lnTo>
                <a:lnTo>
                  <a:pt x="6298654" y="938593"/>
                </a:lnTo>
                <a:lnTo>
                  <a:pt x="6257125" y="949744"/>
                </a:lnTo>
                <a:lnTo>
                  <a:pt x="6217780" y="968717"/>
                </a:lnTo>
                <a:lnTo>
                  <a:pt x="6181763" y="995603"/>
                </a:lnTo>
                <a:lnTo>
                  <a:pt x="6150241" y="1030528"/>
                </a:lnTo>
                <a:lnTo>
                  <a:pt x="5436286" y="1993988"/>
                </a:lnTo>
                <a:lnTo>
                  <a:pt x="5405437" y="2027491"/>
                </a:lnTo>
                <a:lnTo>
                  <a:pt x="5369928" y="2052408"/>
                </a:lnTo>
                <a:lnTo>
                  <a:pt x="5331117" y="2068880"/>
                </a:lnTo>
                <a:lnTo>
                  <a:pt x="5290363" y="2077034"/>
                </a:lnTo>
                <a:lnTo>
                  <a:pt x="5249037" y="2077008"/>
                </a:lnTo>
                <a:lnTo>
                  <a:pt x="5208524" y="2068944"/>
                </a:lnTo>
                <a:lnTo>
                  <a:pt x="5170170" y="2052955"/>
                </a:lnTo>
                <a:lnTo>
                  <a:pt x="5135359" y="2029180"/>
                </a:lnTo>
                <a:lnTo>
                  <a:pt x="5105463" y="1997773"/>
                </a:lnTo>
                <a:lnTo>
                  <a:pt x="5081841" y="1958860"/>
                </a:lnTo>
                <a:lnTo>
                  <a:pt x="4193984" y="72618"/>
                </a:lnTo>
                <a:lnTo>
                  <a:pt x="4168102" y="35610"/>
                </a:lnTo>
                <a:lnTo>
                  <a:pt x="4133773" y="11442"/>
                </a:lnTo>
                <a:lnTo>
                  <a:pt x="4094505" y="0"/>
                </a:lnTo>
                <a:lnTo>
                  <a:pt x="4053840" y="1193"/>
                </a:lnTo>
                <a:lnTo>
                  <a:pt x="4015308" y="14922"/>
                </a:lnTo>
                <a:lnTo>
                  <a:pt x="3982428" y="41059"/>
                </a:lnTo>
                <a:lnTo>
                  <a:pt x="3958729" y="79514"/>
                </a:lnTo>
                <a:lnTo>
                  <a:pt x="2454757" y="3836327"/>
                </a:lnTo>
                <a:lnTo>
                  <a:pt x="1175080" y="1069657"/>
                </a:lnTo>
                <a:lnTo>
                  <a:pt x="1150874" y="1029309"/>
                </a:lnTo>
                <a:lnTo>
                  <a:pt x="1120711" y="995984"/>
                </a:lnTo>
                <a:lnTo>
                  <a:pt x="1085761" y="969797"/>
                </a:lnTo>
                <a:lnTo>
                  <a:pt x="1047165" y="950849"/>
                </a:lnTo>
                <a:lnTo>
                  <a:pt x="1006094" y="939253"/>
                </a:lnTo>
                <a:lnTo>
                  <a:pt x="963714" y="935126"/>
                </a:lnTo>
                <a:lnTo>
                  <a:pt x="921169" y="938593"/>
                </a:lnTo>
                <a:lnTo>
                  <a:pt x="879652" y="949744"/>
                </a:lnTo>
                <a:lnTo>
                  <a:pt x="840295" y="968717"/>
                </a:lnTo>
                <a:lnTo>
                  <a:pt x="804278" y="995603"/>
                </a:lnTo>
                <a:lnTo>
                  <a:pt x="772756" y="1030528"/>
                </a:lnTo>
                <a:lnTo>
                  <a:pt x="58801" y="1993988"/>
                </a:lnTo>
                <a:lnTo>
                  <a:pt x="27965" y="2027491"/>
                </a:lnTo>
                <a:lnTo>
                  <a:pt x="0" y="2047125"/>
                </a:lnTo>
                <a:lnTo>
                  <a:pt x="0" y="7697229"/>
                </a:lnTo>
                <a:lnTo>
                  <a:pt x="910945" y="7697229"/>
                </a:lnTo>
                <a:lnTo>
                  <a:pt x="4240581" y="7697229"/>
                </a:lnTo>
                <a:lnTo>
                  <a:pt x="6895757" y="7697229"/>
                </a:lnTo>
                <a:lnTo>
                  <a:pt x="9618066" y="7697229"/>
                </a:lnTo>
                <a:lnTo>
                  <a:pt x="10420985" y="7697229"/>
                </a:lnTo>
                <a:lnTo>
                  <a:pt x="13819099" y="7697229"/>
                </a:lnTo>
                <a:lnTo>
                  <a:pt x="17344327" y="7697229"/>
                </a:lnTo>
                <a:close/>
              </a:path>
            </a:pathLst>
          </a:custGeom>
          <a:solidFill>
            <a:srgbClr val="FFDF00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79081B45-D361-B49C-6D63-561698899C3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27204" y="1046106"/>
            <a:ext cx="8780088" cy="7459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728"/>
              </a:spcBef>
              <a:defRPr sz="2062" b="0" i="0">
                <a:solidFill>
                  <a:schemeClr val="tx1"/>
                </a:solidFill>
                <a:latin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/>
              <a:t>Subhead goes here</a:t>
            </a:r>
            <a:endParaRPr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E447F89-F3E6-1DAB-E968-4AD3F112BE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8" y="426960"/>
            <a:ext cx="8778240" cy="54894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578" b="1">
                <a:solidFill>
                  <a:srgbClr val="F68610"/>
                </a:solidFill>
              </a:defRPr>
            </a:lvl1pPr>
          </a:lstStyle>
          <a:p>
            <a:pPr lvl="0"/>
            <a:r>
              <a:rPr lang="en-US"/>
              <a:t>Slide title goes her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65F05293-9805-3249-87D6-587D079885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7358" y="1813192"/>
            <a:ext cx="11739440" cy="4480303"/>
          </a:xfrm>
          <a:prstGeom prst="rect">
            <a:avLst/>
          </a:prstGeom>
        </p:spPr>
        <p:txBody>
          <a:bodyPr lIns="0" tIns="0" rIns="0" bIns="0"/>
          <a:lstStyle>
            <a:lvl1pPr>
              <a:defRPr sz="2668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623804" indent="-346558">
              <a:buFont typeface="Wingdings" pitchFamily="2" charset="2"/>
              <a:buChar char="§"/>
              <a:defRPr sz="1940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901050" indent="-346558">
              <a:buFont typeface="Wingdings" pitchFamily="2" charset="2"/>
              <a:buChar char="§"/>
              <a:defRPr sz="1698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>
              <a:defRPr sz="3578">
                <a:latin typeface="Century Gothic" panose="020B0502020202020204" pitchFamily="34" charset="0"/>
              </a:defRPr>
            </a:lvl4pPr>
            <a:lvl5pPr>
              <a:defRPr sz="3578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912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49" y="164639"/>
            <a:ext cx="11809312" cy="864096"/>
          </a:xfrm>
        </p:spPr>
        <p:txBody>
          <a:bodyPr>
            <a:normAutofit/>
          </a:bodyPr>
          <a:lstStyle>
            <a:lvl1pPr>
              <a:defRPr sz="48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9354" y="1316767"/>
            <a:ext cx="5158316" cy="825500"/>
          </a:xfrm>
        </p:spPr>
        <p:txBody>
          <a:bodyPr anchor="b">
            <a:noAutofit/>
          </a:bodyPr>
          <a:lstStyle>
            <a:lvl1pPr marL="0" indent="0">
              <a:buNone/>
              <a:defRPr sz="3200" b="1">
                <a:latin typeface="+mn-lt"/>
              </a:defRPr>
            </a:lvl1pPr>
            <a:lvl2pPr marL="609539" indent="0">
              <a:buNone/>
              <a:defRPr sz="2667" b="1"/>
            </a:lvl2pPr>
            <a:lvl3pPr marL="1219080" indent="0">
              <a:buNone/>
              <a:defRPr sz="2400" b="1"/>
            </a:lvl3pPr>
            <a:lvl4pPr marL="1828618" indent="0">
              <a:buNone/>
              <a:defRPr sz="2133" b="1"/>
            </a:lvl4pPr>
            <a:lvl5pPr marL="2438158" indent="0">
              <a:buNone/>
              <a:defRPr sz="2133" b="1"/>
            </a:lvl5pPr>
            <a:lvl6pPr marL="3047696" indent="0">
              <a:buNone/>
              <a:defRPr sz="2133" b="1"/>
            </a:lvl6pPr>
            <a:lvl7pPr marL="3657235" indent="0">
              <a:buNone/>
              <a:defRPr sz="2133" b="1"/>
            </a:lvl7pPr>
            <a:lvl8pPr marL="4266773" indent="0">
              <a:buNone/>
              <a:defRPr sz="2133" b="1"/>
            </a:lvl8pPr>
            <a:lvl9pPr marL="4876313" indent="0">
              <a:buNone/>
              <a:defRPr sz="2133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9354" y="2530309"/>
            <a:ext cx="5158316" cy="3683000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667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1867">
                <a:latin typeface="+mn-lt"/>
              </a:defRPr>
            </a:lvl4pPr>
            <a:lvl5pPr>
              <a:defRPr sz="1867">
                <a:latin typeface="+mn-lt"/>
              </a:defRPr>
            </a:lvl5pPr>
          </a:lstStyle>
          <a:p>
            <a:pPr lvl="0"/>
            <a:r>
              <a:rPr lang="en-US"/>
              <a:t>Click to edi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571232" y="1316767"/>
            <a:ext cx="5183717" cy="825500"/>
          </a:xfrm>
        </p:spPr>
        <p:txBody>
          <a:bodyPr anchor="b">
            <a:normAutofit/>
          </a:bodyPr>
          <a:lstStyle>
            <a:lvl1pPr marL="0" indent="0">
              <a:buNone/>
              <a:defRPr sz="3200" b="1">
                <a:latin typeface="+mn-lt"/>
              </a:defRPr>
            </a:lvl1pPr>
            <a:lvl2pPr marL="609539" indent="0">
              <a:buNone/>
              <a:defRPr sz="2667" b="1"/>
            </a:lvl2pPr>
            <a:lvl3pPr marL="1219080" indent="0">
              <a:buNone/>
              <a:defRPr sz="2400" b="1"/>
            </a:lvl3pPr>
            <a:lvl4pPr marL="1828618" indent="0">
              <a:buNone/>
              <a:defRPr sz="2133" b="1"/>
            </a:lvl4pPr>
            <a:lvl5pPr marL="2438158" indent="0">
              <a:buNone/>
              <a:defRPr sz="2133" b="1"/>
            </a:lvl5pPr>
            <a:lvl6pPr marL="3047696" indent="0">
              <a:buNone/>
              <a:defRPr sz="2133" b="1"/>
            </a:lvl6pPr>
            <a:lvl7pPr marL="3657235" indent="0">
              <a:buNone/>
              <a:defRPr sz="2133" b="1"/>
            </a:lvl7pPr>
            <a:lvl8pPr marL="4266773" indent="0">
              <a:buNone/>
              <a:defRPr sz="2133" b="1"/>
            </a:lvl8pPr>
            <a:lvl9pPr marL="4876313" indent="0">
              <a:buNone/>
              <a:defRPr sz="2133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571232" y="2530309"/>
            <a:ext cx="5183717" cy="3683000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667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1867">
                <a:latin typeface="+mn-lt"/>
              </a:defRPr>
            </a:lvl4pPr>
            <a:lvl5pPr>
              <a:defRPr sz="1867">
                <a:latin typeface="+mn-lt"/>
              </a:defRPr>
            </a:lvl5pPr>
          </a:lstStyle>
          <a:p>
            <a:pPr lvl="0"/>
            <a:r>
              <a:rPr lang="en-US"/>
              <a:t>Click to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29145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913" y="115034"/>
            <a:ext cx="11763739" cy="817695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895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52" y="260648"/>
            <a:ext cx="4800533" cy="1600200"/>
          </a:xfrm>
        </p:spPr>
        <p:txBody>
          <a:bodyPr anchor="t">
            <a:normAutofit/>
          </a:bodyPr>
          <a:lstStyle>
            <a:lvl1pPr>
              <a:defRPr sz="37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20" y="988490"/>
            <a:ext cx="6768933" cy="4872567"/>
          </a:xfrm>
        </p:spPr>
        <p:txBody>
          <a:bodyPr/>
          <a:lstStyle>
            <a:lvl1pPr marL="0" indent="0">
              <a:buNone/>
              <a:defRPr sz="4267"/>
            </a:lvl1pPr>
            <a:lvl2pPr marL="609539" indent="0">
              <a:buNone/>
              <a:defRPr sz="3733"/>
            </a:lvl2pPr>
            <a:lvl3pPr marL="1219080" indent="0">
              <a:buNone/>
              <a:defRPr sz="3200"/>
            </a:lvl3pPr>
            <a:lvl4pPr marL="1828618" indent="0">
              <a:buNone/>
              <a:defRPr sz="2667"/>
            </a:lvl4pPr>
            <a:lvl5pPr marL="2438158" indent="0">
              <a:buNone/>
              <a:defRPr sz="2667"/>
            </a:lvl5pPr>
            <a:lvl6pPr marL="3047696" indent="0">
              <a:buNone/>
              <a:defRPr sz="2667"/>
            </a:lvl6pPr>
            <a:lvl7pPr marL="3657235" indent="0">
              <a:buNone/>
              <a:defRPr sz="2667"/>
            </a:lvl7pPr>
            <a:lvl8pPr marL="4266773" indent="0">
              <a:buNone/>
              <a:defRPr sz="2667"/>
            </a:lvl8pPr>
            <a:lvl9pPr marL="4876313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352" y="2057400"/>
            <a:ext cx="4800533" cy="3812117"/>
          </a:xfrm>
        </p:spPr>
        <p:txBody>
          <a:bodyPr/>
          <a:lstStyle>
            <a:lvl1pPr marL="0" indent="0">
              <a:buNone/>
              <a:defRPr sz="2133"/>
            </a:lvl1pPr>
            <a:lvl2pPr marL="609539" indent="0">
              <a:buNone/>
              <a:defRPr sz="1867"/>
            </a:lvl2pPr>
            <a:lvl3pPr marL="1219080" indent="0">
              <a:buNone/>
              <a:defRPr sz="1600"/>
            </a:lvl3pPr>
            <a:lvl4pPr marL="1828618" indent="0">
              <a:buNone/>
              <a:defRPr sz="1333"/>
            </a:lvl4pPr>
            <a:lvl5pPr marL="2438158" indent="0">
              <a:buNone/>
              <a:defRPr sz="1333"/>
            </a:lvl5pPr>
            <a:lvl6pPr marL="3047696" indent="0">
              <a:buNone/>
              <a:defRPr sz="1333"/>
            </a:lvl6pPr>
            <a:lvl7pPr marL="3657235" indent="0">
              <a:buNone/>
              <a:defRPr sz="1333"/>
            </a:lvl7pPr>
            <a:lvl8pPr marL="4266773" indent="0">
              <a:buNone/>
              <a:defRPr sz="1333"/>
            </a:lvl8pPr>
            <a:lvl9pPr marL="4876313" indent="0">
              <a:buNone/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72705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99456" y="2660921"/>
            <a:ext cx="8737600" cy="767159"/>
          </a:xfrm>
          <a:prstGeom prst="rect">
            <a:avLst/>
          </a:prstGeom>
        </p:spPr>
        <p:txBody>
          <a:bodyPr vert="horz" tIns="0" bIns="0"/>
          <a:lstStyle>
            <a:lvl1pPr marL="0" indent="0">
              <a:buNone/>
              <a:defRPr sz="4800" b="1" baseline="0"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99456" y="3524084"/>
            <a:ext cx="8737600" cy="672405"/>
          </a:xfrm>
          <a:prstGeom prst="rect">
            <a:avLst/>
          </a:prstGeom>
        </p:spPr>
        <p:txBody>
          <a:bodyPr vert="horz" tIns="0" bIns="0"/>
          <a:lstStyle>
            <a:lvl1pPr marL="0" indent="0">
              <a:buNone/>
              <a:defRPr sz="3200" baseline="0">
                <a:latin typeface="+mn-lt"/>
              </a:defRPr>
            </a:lvl1pPr>
          </a:lstStyle>
          <a:p>
            <a:pPr lvl="0"/>
            <a:r>
              <a:rPr lang="en-GB"/>
              <a:t>Sub head goes in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5431925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18314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B47D301-E6FA-D842-9A00-44C48E0E16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17967" y="-4250244"/>
            <a:ext cx="6304832" cy="13197799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9FDFD678-19B8-E543-BE83-057FBD77B6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4846" y="4587017"/>
            <a:ext cx="6808959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ED7B6E-C294-1B42-9D60-DB09B86136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038882" y="104595"/>
            <a:ext cx="10704577" cy="66457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4518E61-296A-AF40-8AC0-9F3DEF1207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82440" y="2074743"/>
            <a:ext cx="430192" cy="70395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709B733-03E5-5C49-9D6B-66E5FBFE41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44844" y="408488"/>
            <a:ext cx="2250595" cy="1333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0299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 + Content right (No 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1033765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3E4F2C31-1BB6-BD4E-AF74-DC367CD8ED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2133601"/>
            <a:ext cx="4803648" cy="45476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24000" anchor="ctr" anchorCtr="1">
            <a:norm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an imag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9639389-E315-5E45-AF12-B5481C498C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801" y="2133850"/>
            <a:ext cx="608638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6153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 + Content r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52621" y="116135"/>
            <a:ext cx="513735" cy="227164"/>
          </a:xfrm>
        </p:spPr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96C2EDC-509A-9941-B23E-40779D5C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908051"/>
            <a:ext cx="11285538" cy="1033765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3E4F2C31-1BB6-BD4E-AF74-DC367CD8ED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2133601"/>
            <a:ext cx="4803648" cy="45476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24000" anchor="ctr" anchorCtr="1">
            <a:norm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an imag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9639389-E315-5E45-AF12-B5481C498C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801" y="2133850"/>
            <a:ext cx="608638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5827F51-90DD-454A-AB12-94C9535879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33375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36616193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tion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B73D46A5-19AE-BE49-B940-D5792010C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908051"/>
            <a:ext cx="10764837" cy="1621619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0662FD4-63A9-574F-A8FC-A6F647C7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" y="333376"/>
            <a:ext cx="3000375" cy="466725"/>
          </a:xfrm>
          <a:prstGeom prst="rect">
            <a:avLst/>
          </a:prstGeom>
          <a:solidFill>
            <a:schemeClr val="accent1"/>
          </a:solidFill>
        </p:spPr>
        <p:txBody>
          <a:bodyPr lIns="432000" anchor="ctr" anchorCtr="0">
            <a:noAutofit/>
          </a:bodyPr>
          <a:lstStyle>
            <a:lvl2pPr>
              <a:lnSpc>
                <a:spcPts val="1700"/>
              </a:lnSpc>
              <a:spcBef>
                <a:spcPts val="800"/>
              </a:spcBef>
              <a:defRPr sz="1400" b="1" cap="all" baseline="0"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22016555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Freeform 237">
            <a:extLst>
              <a:ext uri="{FF2B5EF4-FFF2-40B4-BE49-F238E27FC236}">
                <a16:creationId xmlns:a16="http://schemas.microsoft.com/office/drawing/2014/main" id="{8FF6D5A1-A2BA-04B2-6137-D61A85B5D39B}"/>
              </a:ext>
            </a:extLst>
          </p:cNvPr>
          <p:cNvSpPr/>
          <p:nvPr/>
        </p:nvSpPr>
        <p:spPr>
          <a:xfrm>
            <a:off x="5510" y="-6453"/>
            <a:ext cx="12186489" cy="6861079"/>
          </a:xfrm>
          <a:custGeom>
            <a:avLst/>
            <a:gdLst>
              <a:gd name="connsiteX0" fmla="*/ 9671008 w 9700744"/>
              <a:gd name="connsiteY0" fmla="*/ 645 h 6861079"/>
              <a:gd name="connsiteX1" fmla="*/ 9700744 w 9700744"/>
              <a:gd name="connsiteY1" fmla="*/ 3296 h 6861079"/>
              <a:gd name="connsiteX2" fmla="*/ 9700744 w 9700744"/>
              <a:gd name="connsiteY2" fmla="*/ 6857808 h 6861079"/>
              <a:gd name="connsiteX3" fmla="*/ 9670894 w 9700744"/>
              <a:gd name="connsiteY3" fmla="*/ 6860459 h 6861079"/>
              <a:gd name="connsiteX4" fmla="*/ 36529 w 9700744"/>
              <a:gd name="connsiteY4" fmla="*/ 6860459 h 6861079"/>
              <a:gd name="connsiteX5" fmla="*/ 109 w 9700744"/>
              <a:gd name="connsiteY5" fmla="*/ 6824607 h 6861079"/>
              <a:gd name="connsiteX6" fmla="*/ 109 w 9700744"/>
              <a:gd name="connsiteY6" fmla="*/ 5116599 h 6861079"/>
              <a:gd name="connsiteX7" fmla="*/ 109 w 9700744"/>
              <a:gd name="connsiteY7" fmla="*/ 50677 h 6861079"/>
              <a:gd name="connsiteX8" fmla="*/ 50014 w 9700744"/>
              <a:gd name="connsiteY8" fmla="*/ 645 h 6861079"/>
              <a:gd name="connsiteX9" fmla="*/ 9671008 w 9700744"/>
              <a:gd name="connsiteY9" fmla="*/ 645 h 686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00744" h="6861079">
                <a:moveTo>
                  <a:pt x="9671008" y="645"/>
                </a:moveTo>
                <a:cubicBezTo>
                  <a:pt x="9680921" y="645"/>
                  <a:pt x="9691293" y="-1891"/>
                  <a:pt x="9700744" y="3296"/>
                </a:cubicBezTo>
                <a:lnTo>
                  <a:pt x="9700744" y="6857808"/>
                </a:lnTo>
                <a:cubicBezTo>
                  <a:pt x="9691178" y="6862996"/>
                  <a:pt x="9680805" y="6860459"/>
                  <a:pt x="9670894" y="6860459"/>
                </a:cubicBezTo>
                <a:lnTo>
                  <a:pt x="36529" y="6860459"/>
                </a:lnTo>
                <a:cubicBezTo>
                  <a:pt x="224" y="6860575"/>
                  <a:pt x="109" y="6860459"/>
                  <a:pt x="109" y="6824607"/>
                </a:cubicBezTo>
                <a:cubicBezTo>
                  <a:pt x="109" y="6255233"/>
                  <a:pt x="109" y="5685974"/>
                  <a:pt x="109" y="5116599"/>
                </a:cubicBezTo>
                <a:cubicBezTo>
                  <a:pt x="109" y="3427958"/>
                  <a:pt x="109" y="1739318"/>
                  <a:pt x="109" y="50677"/>
                </a:cubicBezTo>
                <a:cubicBezTo>
                  <a:pt x="-7" y="-9500"/>
                  <a:pt x="-4040" y="645"/>
                  <a:pt x="50014" y="645"/>
                </a:cubicBezTo>
                <a:lnTo>
                  <a:pt x="9671008" y="645"/>
                </a:lnTo>
                <a:close/>
              </a:path>
            </a:pathLst>
          </a:custGeom>
          <a:solidFill>
            <a:schemeClr val="accent5"/>
          </a:solidFill>
          <a:ln w="1151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>
              <a:latin typeface="Lato" panose="020F0502020204030203" pitchFamily="34" charset="77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EB09FA8-A391-9521-2AB1-00F36A079DC9}"/>
              </a:ext>
            </a:extLst>
          </p:cNvPr>
          <p:cNvGrpSpPr/>
          <p:nvPr userDrawn="1"/>
        </p:nvGrpSpPr>
        <p:grpSpPr>
          <a:xfrm>
            <a:off x="4441587" y="2682"/>
            <a:ext cx="7508013" cy="6854165"/>
            <a:chOff x="4441587" y="2682"/>
            <a:chExt cx="7508013" cy="6854165"/>
          </a:xfrm>
        </p:grpSpPr>
        <p:grpSp>
          <p:nvGrpSpPr>
            <p:cNvPr id="305" name="Group 304">
              <a:extLst>
                <a:ext uri="{FF2B5EF4-FFF2-40B4-BE49-F238E27FC236}">
                  <a16:creationId xmlns:a16="http://schemas.microsoft.com/office/drawing/2014/main" id="{F05515CC-BF25-DE53-A998-B706BEF72913}"/>
                </a:ext>
              </a:extLst>
            </p:cNvPr>
            <p:cNvGrpSpPr/>
            <p:nvPr userDrawn="1"/>
          </p:nvGrpSpPr>
          <p:grpSpPr>
            <a:xfrm>
              <a:off x="4656076" y="3258"/>
              <a:ext cx="7293524" cy="6710105"/>
              <a:chOff x="4656076" y="3258"/>
              <a:chExt cx="7293524" cy="6710105"/>
            </a:xfrm>
            <a:solidFill>
              <a:srgbClr val="F9AA62"/>
            </a:solidFill>
          </p:grpSpPr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362B5BAD-D21B-F6A4-E5FC-CED33171391E}"/>
                  </a:ext>
                </a:extLst>
              </p:cNvPr>
              <p:cNvSpPr/>
              <p:nvPr/>
            </p:nvSpPr>
            <p:spPr>
              <a:xfrm>
                <a:off x="10586779" y="857668"/>
                <a:ext cx="466106" cy="461863"/>
              </a:xfrm>
              <a:custGeom>
                <a:avLst/>
                <a:gdLst>
                  <a:gd name="connsiteX0" fmla="*/ 232192 w 466106"/>
                  <a:gd name="connsiteY0" fmla="*/ 461411 h 461863"/>
                  <a:gd name="connsiteX1" fmla="*/ 182748 w 466106"/>
                  <a:gd name="connsiteY1" fmla="*/ 458068 h 461863"/>
                  <a:gd name="connsiteX2" fmla="*/ 12286 w 466106"/>
                  <a:gd name="connsiteY2" fmla="*/ 307857 h 461863"/>
                  <a:gd name="connsiteX3" fmla="*/ 27731 w 466106"/>
                  <a:gd name="connsiteY3" fmla="*/ 135050 h 461863"/>
                  <a:gd name="connsiteX4" fmla="*/ 134917 w 466106"/>
                  <a:gd name="connsiteY4" fmla="*/ 20691 h 461863"/>
                  <a:gd name="connsiteX5" fmla="*/ 395623 w 466106"/>
                  <a:gd name="connsiteY5" fmla="*/ 60348 h 461863"/>
                  <a:gd name="connsiteX6" fmla="*/ 458783 w 466106"/>
                  <a:gd name="connsiteY6" fmla="*/ 177704 h 461863"/>
                  <a:gd name="connsiteX7" fmla="*/ 442417 w 466106"/>
                  <a:gd name="connsiteY7" fmla="*/ 349934 h 461863"/>
                  <a:gd name="connsiteX8" fmla="*/ 327393 w 466106"/>
                  <a:gd name="connsiteY8" fmla="*/ 446886 h 461863"/>
                  <a:gd name="connsiteX9" fmla="*/ 232192 w 466106"/>
                  <a:gd name="connsiteY9" fmla="*/ 461527 h 461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106" h="461863">
                    <a:moveTo>
                      <a:pt x="232192" y="461411"/>
                    </a:moveTo>
                    <a:cubicBezTo>
                      <a:pt x="215711" y="460374"/>
                      <a:pt x="198999" y="460604"/>
                      <a:pt x="182748" y="458068"/>
                    </a:cubicBezTo>
                    <a:cubicBezTo>
                      <a:pt x="94578" y="443773"/>
                      <a:pt x="42944" y="389591"/>
                      <a:pt x="12286" y="307857"/>
                    </a:cubicBezTo>
                    <a:cubicBezTo>
                      <a:pt x="-10879" y="246181"/>
                      <a:pt x="1222" y="190615"/>
                      <a:pt x="27731" y="135050"/>
                    </a:cubicBezTo>
                    <a:cubicBezTo>
                      <a:pt x="51242" y="85710"/>
                      <a:pt x="83860" y="44554"/>
                      <a:pt x="134917" y="20691"/>
                    </a:cubicBezTo>
                    <a:cubicBezTo>
                      <a:pt x="211216" y="-14816"/>
                      <a:pt x="327277" y="-6516"/>
                      <a:pt x="395623" y="60348"/>
                    </a:cubicBezTo>
                    <a:cubicBezTo>
                      <a:pt x="428471" y="92396"/>
                      <a:pt x="449678" y="131822"/>
                      <a:pt x="458783" y="177704"/>
                    </a:cubicBezTo>
                    <a:cubicBezTo>
                      <a:pt x="470539" y="236959"/>
                      <a:pt x="470193" y="295176"/>
                      <a:pt x="442417" y="349934"/>
                    </a:cubicBezTo>
                    <a:cubicBezTo>
                      <a:pt x="418098" y="397776"/>
                      <a:pt x="378911" y="430516"/>
                      <a:pt x="327393" y="446886"/>
                    </a:cubicBezTo>
                    <a:cubicBezTo>
                      <a:pt x="296620" y="456685"/>
                      <a:pt x="265040" y="463486"/>
                      <a:pt x="232192" y="461527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59" name="Freeform 258">
                <a:extLst>
                  <a:ext uri="{FF2B5EF4-FFF2-40B4-BE49-F238E27FC236}">
                    <a16:creationId xmlns:a16="http://schemas.microsoft.com/office/drawing/2014/main" id="{EF1A6C9E-1DE0-4124-D57D-49987036ECF3}"/>
                  </a:ext>
                </a:extLst>
              </p:cNvPr>
              <p:cNvSpPr/>
              <p:nvPr/>
            </p:nvSpPr>
            <p:spPr>
              <a:xfrm>
                <a:off x="11501516" y="1544897"/>
                <a:ext cx="448084" cy="498725"/>
              </a:xfrm>
              <a:custGeom>
                <a:avLst/>
                <a:gdLst>
                  <a:gd name="connsiteX0" fmla="*/ 119858 w 448084"/>
                  <a:gd name="connsiteY0" fmla="*/ 498725 h 498725"/>
                  <a:gd name="connsiteX1" fmla="*/ 25811 w 448084"/>
                  <a:gd name="connsiteY1" fmla="*/ 433937 h 498725"/>
                  <a:gd name="connsiteX2" fmla="*/ 53702 w 448084"/>
                  <a:gd name="connsiteY2" fmla="*/ 96278 h 498725"/>
                  <a:gd name="connsiteX3" fmla="*/ 111214 w 448084"/>
                  <a:gd name="connsiteY3" fmla="*/ 33911 h 498725"/>
                  <a:gd name="connsiteX4" fmla="*/ 273953 w 448084"/>
                  <a:gd name="connsiteY4" fmla="*/ 10970 h 498725"/>
                  <a:gd name="connsiteX5" fmla="*/ 437615 w 448084"/>
                  <a:gd name="connsiteY5" fmla="*/ 166254 h 498725"/>
                  <a:gd name="connsiteX6" fmla="*/ 443493 w 448084"/>
                  <a:gd name="connsiteY6" fmla="*/ 261130 h 498725"/>
                  <a:gd name="connsiteX7" fmla="*/ 368923 w 448084"/>
                  <a:gd name="connsiteY7" fmla="*/ 408345 h 498725"/>
                  <a:gd name="connsiteX8" fmla="*/ 322707 w 448084"/>
                  <a:gd name="connsiteY8" fmla="*/ 437396 h 498725"/>
                  <a:gd name="connsiteX9" fmla="*/ 160197 w 448084"/>
                  <a:gd name="connsiteY9" fmla="*/ 490771 h 498725"/>
                  <a:gd name="connsiteX10" fmla="*/ 119858 w 448084"/>
                  <a:gd name="connsiteY10" fmla="*/ 498725 h 498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084" h="498725">
                    <a:moveTo>
                      <a:pt x="119858" y="498725"/>
                    </a:moveTo>
                    <a:cubicBezTo>
                      <a:pt x="73411" y="497111"/>
                      <a:pt x="40563" y="477398"/>
                      <a:pt x="25811" y="433937"/>
                    </a:cubicBezTo>
                    <a:cubicBezTo>
                      <a:pt x="-13492" y="317733"/>
                      <a:pt x="-10726" y="203720"/>
                      <a:pt x="53702" y="96278"/>
                    </a:cubicBezTo>
                    <a:cubicBezTo>
                      <a:pt x="67993" y="72415"/>
                      <a:pt x="89085" y="50973"/>
                      <a:pt x="111214" y="33911"/>
                    </a:cubicBezTo>
                    <a:cubicBezTo>
                      <a:pt x="160197" y="-3901"/>
                      <a:pt x="217479" y="-7821"/>
                      <a:pt x="273953" y="10970"/>
                    </a:cubicBezTo>
                    <a:cubicBezTo>
                      <a:pt x="351520" y="36908"/>
                      <a:pt x="403269" y="93857"/>
                      <a:pt x="437615" y="166254"/>
                    </a:cubicBezTo>
                    <a:cubicBezTo>
                      <a:pt x="451791" y="195996"/>
                      <a:pt x="449256" y="228967"/>
                      <a:pt x="443493" y="261130"/>
                    </a:cubicBezTo>
                    <a:cubicBezTo>
                      <a:pt x="433351" y="317733"/>
                      <a:pt x="413412" y="369495"/>
                      <a:pt x="368923" y="408345"/>
                    </a:cubicBezTo>
                    <a:cubicBezTo>
                      <a:pt x="355323" y="420219"/>
                      <a:pt x="339533" y="431401"/>
                      <a:pt x="322707" y="437396"/>
                    </a:cubicBezTo>
                    <a:cubicBezTo>
                      <a:pt x="269113" y="456648"/>
                      <a:pt x="214598" y="473594"/>
                      <a:pt x="160197" y="490771"/>
                    </a:cubicBezTo>
                    <a:cubicBezTo>
                      <a:pt x="147173" y="494806"/>
                      <a:pt x="133343" y="496074"/>
                      <a:pt x="119858" y="49872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0" name="Freeform 259">
                <a:extLst>
                  <a:ext uri="{FF2B5EF4-FFF2-40B4-BE49-F238E27FC236}">
                    <a16:creationId xmlns:a16="http://schemas.microsoft.com/office/drawing/2014/main" id="{555BC761-0721-F396-99F4-30DBFD2E94F0}"/>
                  </a:ext>
                </a:extLst>
              </p:cNvPr>
              <p:cNvSpPr/>
              <p:nvPr/>
            </p:nvSpPr>
            <p:spPr>
              <a:xfrm>
                <a:off x="10135946" y="155709"/>
                <a:ext cx="447675" cy="494472"/>
              </a:xfrm>
              <a:custGeom>
                <a:avLst/>
                <a:gdLst>
                  <a:gd name="connsiteX0" fmla="*/ 447675 w 447675"/>
                  <a:gd name="connsiteY0" fmla="*/ 222906 h 494472"/>
                  <a:gd name="connsiteX1" fmla="*/ 384285 w 447675"/>
                  <a:gd name="connsiteY1" fmla="*/ 392139 h 494472"/>
                  <a:gd name="connsiteX2" fmla="*/ 314210 w 447675"/>
                  <a:gd name="connsiteY2" fmla="*/ 438712 h 494472"/>
                  <a:gd name="connsiteX3" fmla="*/ 212210 w 447675"/>
                  <a:gd name="connsiteY3" fmla="*/ 472720 h 494472"/>
                  <a:gd name="connsiteX4" fmla="*/ 115857 w 447675"/>
                  <a:gd name="connsiteY4" fmla="*/ 494393 h 494472"/>
                  <a:gd name="connsiteX5" fmla="*/ 21694 w 447675"/>
                  <a:gd name="connsiteY5" fmla="*/ 425455 h 494472"/>
                  <a:gd name="connsiteX6" fmla="*/ 833 w 447675"/>
                  <a:gd name="connsiteY6" fmla="*/ 264983 h 494472"/>
                  <a:gd name="connsiteX7" fmla="*/ 63992 w 447675"/>
                  <a:gd name="connsiteY7" fmla="*/ 76729 h 494472"/>
                  <a:gd name="connsiteX8" fmla="*/ 295424 w 447675"/>
                  <a:gd name="connsiteY8" fmla="*/ 18397 h 494472"/>
                  <a:gd name="connsiteX9" fmla="*/ 430617 w 447675"/>
                  <a:gd name="connsiteY9" fmla="*/ 151662 h 494472"/>
                  <a:gd name="connsiteX10" fmla="*/ 447560 w 447675"/>
                  <a:gd name="connsiteY10" fmla="*/ 222906 h 494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7675" h="494472">
                    <a:moveTo>
                      <a:pt x="447675" y="222906"/>
                    </a:moveTo>
                    <a:cubicBezTo>
                      <a:pt x="443756" y="286887"/>
                      <a:pt x="422550" y="342683"/>
                      <a:pt x="384285" y="392139"/>
                    </a:cubicBezTo>
                    <a:cubicBezTo>
                      <a:pt x="366421" y="415195"/>
                      <a:pt x="342563" y="430182"/>
                      <a:pt x="314210" y="438712"/>
                    </a:cubicBezTo>
                    <a:cubicBezTo>
                      <a:pt x="279980" y="449088"/>
                      <a:pt x="245980" y="460731"/>
                      <a:pt x="212210" y="472720"/>
                    </a:cubicBezTo>
                    <a:cubicBezTo>
                      <a:pt x="180860" y="483787"/>
                      <a:pt x="149857" y="493240"/>
                      <a:pt x="115857" y="494393"/>
                    </a:cubicBezTo>
                    <a:cubicBezTo>
                      <a:pt x="68257" y="496007"/>
                      <a:pt x="37138" y="472836"/>
                      <a:pt x="21694" y="425455"/>
                    </a:cubicBezTo>
                    <a:cubicBezTo>
                      <a:pt x="4752" y="373463"/>
                      <a:pt x="-2625" y="319511"/>
                      <a:pt x="833" y="264983"/>
                    </a:cubicBezTo>
                    <a:cubicBezTo>
                      <a:pt x="5213" y="196967"/>
                      <a:pt x="22847" y="133102"/>
                      <a:pt x="63992" y="76729"/>
                    </a:cubicBezTo>
                    <a:cubicBezTo>
                      <a:pt x="124271" y="-5928"/>
                      <a:pt x="223620" y="-15611"/>
                      <a:pt x="295424" y="18397"/>
                    </a:cubicBezTo>
                    <a:cubicBezTo>
                      <a:pt x="355817" y="46986"/>
                      <a:pt x="399499" y="94136"/>
                      <a:pt x="430617" y="151662"/>
                    </a:cubicBezTo>
                    <a:cubicBezTo>
                      <a:pt x="441797" y="172412"/>
                      <a:pt x="442258" y="198927"/>
                      <a:pt x="447560" y="22290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1" name="Freeform 260">
                <a:extLst>
                  <a:ext uri="{FF2B5EF4-FFF2-40B4-BE49-F238E27FC236}">
                    <a16:creationId xmlns:a16="http://schemas.microsoft.com/office/drawing/2014/main" id="{F5390447-A16E-9647-3B42-B41AB4DB20D1}"/>
                  </a:ext>
                </a:extLst>
              </p:cNvPr>
              <p:cNvSpPr/>
              <p:nvPr/>
            </p:nvSpPr>
            <p:spPr>
              <a:xfrm>
                <a:off x="8088524" y="3046354"/>
                <a:ext cx="466287" cy="449981"/>
              </a:xfrm>
              <a:custGeom>
                <a:avLst/>
                <a:gdLst>
                  <a:gd name="connsiteX0" fmla="*/ 263537 w 466287"/>
                  <a:gd name="connsiteY0" fmla="*/ 449352 h 449981"/>
                  <a:gd name="connsiteX1" fmla="*/ 77517 w 466287"/>
                  <a:gd name="connsiteY1" fmla="*/ 404853 h 449981"/>
                  <a:gd name="connsiteX2" fmla="*/ 3984 w 466287"/>
                  <a:gd name="connsiteY2" fmla="*/ 262942 h 449981"/>
                  <a:gd name="connsiteX3" fmla="*/ 218127 w 466287"/>
                  <a:gd name="connsiteY3" fmla="*/ 8055 h 449981"/>
                  <a:gd name="connsiteX4" fmla="*/ 324046 w 466287"/>
                  <a:gd name="connsiteY4" fmla="*/ 19237 h 449981"/>
                  <a:gd name="connsiteX5" fmla="*/ 436304 w 466287"/>
                  <a:gd name="connsiteY5" fmla="*/ 120108 h 449981"/>
                  <a:gd name="connsiteX6" fmla="*/ 458318 w 466287"/>
                  <a:gd name="connsiteY6" fmla="*/ 244612 h 449981"/>
                  <a:gd name="connsiteX7" fmla="*/ 354588 w 466287"/>
                  <a:gd name="connsiteY7" fmla="*/ 421684 h 449981"/>
                  <a:gd name="connsiteX8" fmla="*/ 283015 w 466287"/>
                  <a:gd name="connsiteY8" fmla="*/ 449582 h 449981"/>
                  <a:gd name="connsiteX9" fmla="*/ 263653 w 466287"/>
                  <a:gd name="connsiteY9" fmla="*/ 449582 h 449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287" h="449981">
                    <a:moveTo>
                      <a:pt x="263537" y="449352"/>
                    </a:moveTo>
                    <a:cubicBezTo>
                      <a:pt x="197842" y="449813"/>
                      <a:pt x="136066" y="434480"/>
                      <a:pt x="77517" y="404853"/>
                    </a:cubicBezTo>
                    <a:cubicBezTo>
                      <a:pt x="4445" y="367733"/>
                      <a:pt x="-8002" y="342486"/>
                      <a:pt x="3984" y="262942"/>
                    </a:cubicBezTo>
                    <a:cubicBezTo>
                      <a:pt x="23001" y="136478"/>
                      <a:pt x="99530" y="53014"/>
                      <a:pt x="218127" y="8055"/>
                    </a:cubicBezTo>
                    <a:cubicBezTo>
                      <a:pt x="254433" y="-5779"/>
                      <a:pt x="290277" y="-1629"/>
                      <a:pt x="324046" y="19237"/>
                    </a:cubicBezTo>
                    <a:cubicBezTo>
                      <a:pt x="367612" y="46097"/>
                      <a:pt x="405070" y="79529"/>
                      <a:pt x="436304" y="120108"/>
                    </a:cubicBezTo>
                    <a:cubicBezTo>
                      <a:pt x="465349" y="157920"/>
                      <a:pt x="474569" y="198845"/>
                      <a:pt x="458318" y="244612"/>
                    </a:cubicBezTo>
                    <a:cubicBezTo>
                      <a:pt x="435037" y="310322"/>
                      <a:pt x="404033" y="371075"/>
                      <a:pt x="354588" y="421684"/>
                    </a:cubicBezTo>
                    <a:cubicBezTo>
                      <a:pt x="334189" y="442550"/>
                      <a:pt x="311599" y="452118"/>
                      <a:pt x="283015" y="449582"/>
                    </a:cubicBezTo>
                    <a:cubicBezTo>
                      <a:pt x="276561" y="449006"/>
                      <a:pt x="270107" y="449582"/>
                      <a:pt x="263653" y="44958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2" name="Freeform 261">
                <a:extLst>
                  <a:ext uri="{FF2B5EF4-FFF2-40B4-BE49-F238E27FC236}">
                    <a16:creationId xmlns:a16="http://schemas.microsoft.com/office/drawing/2014/main" id="{F8541FBB-D175-36E0-21E9-6EEC81A91F8D}"/>
                  </a:ext>
                </a:extLst>
              </p:cNvPr>
              <p:cNvSpPr/>
              <p:nvPr/>
            </p:nvSpPr>
            <p:spPr>
              <a:xfrm>
                <a:off x="9626884" y="3429133"/>
                <a:ext cx="466117" cy="339098"/>
              </a:xfrm>
              <a:custGeom>
                <a:avLst/>
                <a:gdLst>
                  <a:gd name="connsiteX0" fmla="*/ 133244 w 466117"/>
                  <a:gd name="connsiteY0" fmla="*/ 338983 h 339098"/>
                  <a:gd name="connsiteX1" fmla="*/ 71006 w 466117"/>
                  <a:gd name="connsiteY1" fmla="*/ 331144 h 339098"/>
                  <a:gd name="connsiteX2" fmla="*/ 7846 w 466117"/>
                  <a:gd name="connsiteY2" fmla="*/ 269007 h 339098"/>
                  <a:gd name="connsiteX3" fmla="*/ 14647 w 466117"/>
                  <a:gd name="connsiteY3" fmla="*/ 102656 h 339098"/>
                  <a:gd name="connsiteX4" fmla="*/ 103969 w 466117"/>
                  <a:gd name="connsiteY4" fmla="*/ 25303 h 339098"/>
                  <a:gd name="connsiteX5" fmla="*/ 204932 w 466117"/>
                  <a:gd name="connsiteY5" fmla="*/ 11469 h 339098"/>
                  <a:gd name="connsiteX6" fmla="*/ 314770 w 466117"/>
                  <a:gd name="connsiteY6" fmla="*/ 2131 h 339098"/>
                  <a:gd name="connsiteX7" fmla="*/ 389224 w 466117"/>
                  <a:gd name="connsiteY7" fmla="*/ 517 h 339098"/>
                  <a:gd name="connsiteX8" fmla="*/ 445353 w 466117"/>
                  <a:gd name="connsiteY8" fmla="*/ 39367 h 339098"/>
                  <a:gd name="connsiteX9" fmla="*/ 462065 w 466117"/>
                  <a:gd name="connsiteY9" fmla="*/ 100120 h 339098"/>
                  <a:gd name="connsiteX10" fmla="*/ 460105 w 466117"/>
                  <a:gd name="connsiteY10" fmla="*/ 204334 h 339098"/>
                  <a:gd name="connsiteX11" fmla="*/ 392797 w 466117"/>
                  <a:gd name="connsiteY11" fmla="*/ 289988 h 339098"/>
                  <a:gd name="connsiteX12" fmla="*/ 306702 w 466117"/>
                  <a:gd name="connsiteY12" fmla="*/ 318578 h 339098"/>
                  <a:gd name="connsiteX13" fmla="*/ 266017 w 466117"/>
                  <a:gd name="connsiteY13" fmla="*/ 325841 h 339098"/>
                  <a:gd name="connsiteX14" fmla="*/ 133359 w 466117"/>
                  <a:gd name="connsiteY14" fmla="*/ 339098 h 339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66117" h="339098">
                    <a:moveTo>
                      <a:pt x="133244" y="338983"/>
                    </a:moveTo>
                    <a:cubicBezTo>
                      <a:pt x="112843" y="336562"/>
                      <a:pt x="91752" y="335063"/>
                      <a:pt x="71006" y="331144"/>
                    </a:cubicBezTo>
                    <a:cubicBezTo>
                      <a:pt x="36545" y="324688"/>
                      <a:pt x="15799" y="301747"/>
                      <a:pt x="7846" y="269007"/>
                    </a:cubicBezTo>
                    <a:cubicBezTo>
                      <a:pt x="-5638" y="213211"/>
                      <a:pt x="-682" y="157300"/>
                      <a:pt x="14647" y="102656"/>
                    </a:cubicBezTo>
                    <a:cubicBezTo>
                      <a:pt x="27094" y="58042"/>
                      <a:pt x="61325" y="34755"/>
                      <a:pt x="103969" y="25303"/>
                    </a:cubicBezTo>
                    <a:cubicBezTo>
                      <a:pt x="137047" y="17924"/>
                      <a:pt x="171162" y="15042"/>
                      <a:pt x="204932" y="11469"/>
                    </a:cubicBezTo>
                    <a:cubicBezTo>
                      <a:pt x="241468" y="7549"/>
                      <a:pt x="278119" y="4552"/>
                      <a:pt x="314770" y="2131"/>
                    </a:cubicBezTo>
                    <a:cubicBezTo>
                      <a:pt x="339550" y="517"/>
                      <a:pt x="364444" y="-751"/>
                      <a:pt x="389224" y="517"/>
                    </a:cubicBezTo>
                    <a:cubicBezTo>
                      <a:pt x="414926" y="1901"/>
                      <a:pt x="435441" y="15504"/>
                      <a:pt x="445353" y="39367"/>
                    </a:cubicBezTo>
                    <a:cubicBezTo>
                      <a:pt x="453421" y="58619"/>
                      <a:pt x="458722" y="79485"/>
                      <a:pt x="462065" y="100120"/>
                    </a:cubicBezTo>
                    <a:cubicBezTo>
                      <a:pt x="467597" y="134704"/>
                      <a:pt x="467943" y="169635"/>
                      <a:pt x="460105" y="204334"/>
                    </a:cubicBezTo>
                    <a:cubicBezTo>
                      <a:pt x="451116" y="243645"/>
                      <a:pt x="429909" y="273964"/>
                      <a:pt x="392797" y="289988"/>
                    </a:cubicBezTo>
                    <a:cubicBezTo>
                      <a:pt x="365136" y="301862"/>
                      <a:pt x="335631" y="309932"/>
                      <a:pt x="306702" y="318578"/>
                    </a:cubicBezTo>
                    <a:cubicBezTo>
                      <a:pt x="293562" y="322498"/>
                      <a:pt x="279732" y="324342"/>
                      <a:pt x="266017" y="325841"/>
                    </a:cubicBezTo>
                    <a:cubicBezTo>
                      <a:pt x="222220" y="330567"/>
                      <a:pt x="178193" y="334718"/>
                      <a:pt x="133359" y="33909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3" name="Freeform 262">
                <a:extLst>
                  <a:ext uri="{FF2B5EF4-FFF2-40B4-BE49-F238E27FC236}">
                    <a16:creationId xmlns:a16="http://schemas.microsoft.com/office/drawing/2014/main" id="{277D881D-FB06-8715-4C54-A47FA8BFA874}"/>
                  </a:ext>
                </a:extLst>
              </p:cNvPr>
              <p:cNvSpPr/>
              <p:nvPr/>
            </p:nvSpPr>
            <p:spPr>
              <a:xfrm>
                <a:off x="8112447" y="974965"/>
                <a:ext cx="453992" cy="419057"/>
              </a:xfrm>
              <a:custGeom>
                <a:avLst/>
                <a:gdLst>
                  <a:gd name="connsiteX0" fmla="*/ 210685 w 453992"/>
                  <a:gd name="connsiteY0" fmla="*/ 413860 h 419057"/>
                  <a:gd name="connsiteX1" fmla="*/ 179567 w 453992"/>
                  <a:gd name="connsiteY1" fmla="*/ 338927 h 419057"/>
                  <a:gd name="connsiteX2" fmla="*/ 70305 w 453992"/>
                  <a:gd name="connsiteY2" fmla="*/ 240477 h 419057"/>
                  <a:gd name="connsiteX3" fmla="*/ 0 w 453992"/>
                  <a:gd name="connsiteY3" fmla="*/ 220879 h 419057"/>
                  <a:gd name="connsiteX4" fmla="*/ 53593 w 453992"/>
                  <a:gd name="connsiteY4" fmla="*/ 105367 h 419057"/>
                  <a:gd name="connsiteX5" fmla="*/ 294130 w 453992"/>
                  <a:gd name="connsiteY5" fmla="*/ 0 h 419057"/>
                  <a:gd name="connsiteX6" fmla="*/ 377805 w 453992"/>
                  <a:gd name="connsiteY6" fmla="*/ 40925 h 419057"/>
                  <a:gd name="connsiteX7" fmla="*/ 449493 w 453992"/>
                  <a:gd name="connsiteY7" fmla="*/ 182606 h 419057"/>
                  <a:gd name="connsiteX8" fmla="*/ 425981 w 453992"/>
                  <a:gd name="connsiteY8" fmla="*/ 288434 h 419057"/>
                  <a:gd name="connsiteX9" fmla="*/ 299892 w 453992"/>
                  <a:gd name="connsiteY9" fmla="*/ 399219 h 419057"/>
                  <a:gd name="connsiteX10" fmla="*/ 210685 w 453992"/>
                  <a:gd name="connsiteY10" fmla="*/ 413860 h 41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3992" h="419057">
                    <a:moveTo>
                      <a:pt x="210685" y="413860"/>
                    </a:moveTo>
                    <a:cubicBezTo>
                      <a:pt x="208841" y="385270"/>
                      <a:pt x="195817" y="361407"/>
                      <a:pt x="179567" y="338927"/>
                    </a:cubicBezTo>
                    <a:cubicBezTo>
                      <a:pt x="150292" y="298233"/>
                      <a:pt x="113180" y="266069"/>
                      <a:pt x="70305" y="240477"/>
                    </a:cubicBezTo>
                    <a:cubicBezTo>
                      <a:pt x="48752" y="227565"/>
                      <a:pt x="25702" y="219150"/>
                      <a:pt x="0" y="220879"/>
                    </a:cubicBezTo>
                    <a:cubicBezTo>
                      <a:pt x="1383" y="174766"/>
                      <a:pt x="24319" y="137646"/>
                      <a:pt x="53593" y="105367"/>
                    </a:cubicBezTo>
                    <a:cubicBezTo>
                      <a:pt x="117560" y="34815"/>
                      <a:pt x="198583" y="115"/>
                      <a:pt x="294130" y="0"/>
                    </a:cubicBezTo>
                    <a:cubicBezTo>
                      <a:pt x="328821" y="0"/>
                      <a:pt x="355676" y="14525"/>
                      <a:pt x="377805" y="40925"/>
                    </a:cubicBezTo>
                    <a:cubicBezTo>
                      <a:pt x="412842" y="82657"/>
                      <a:pt x="436239" y="129922"/>
                      <a:pt x="449493" y="182606"/>
                    </a:cubicBezTo>
                    <a:cubicBezTo>
                      <a:pt x="459405" y="222032"/>
                      <a:pt x="453527" y="257884"/>
                      <a:pt x="425981" y="288434"/>
                    </a:cubicBezTo>
                    <a:cubicBezTo>
                      <a:pt x="388293" y="330166"/>
                      <a:pt x="349567" y="370745"/>
                      <a:pt x="299892" y="399219"/>
                    </a:cubicBezTo>
                    <a:cubicBezTo>
                      <a:pt x="271540" y="415474"/>
                      <a:pt x="243187" y="425849"/>
                      <a:pt x="210685" y="41386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4" name="Freeform 263">
                <a:extLst>
                  <a:ext uri="{FF2B5EF4-FFF2-40B4-BE49-F238E27FC236}">
                    <a16:creationId xmlns:a16="http://schemas.microsoft.com/office/drawing/2014/main" id="{F0E555C4-B4C1-0A04-EBD2-A45465788A81}"/>
                  </a:ext>
                </a:extLst>
              </p:cNvPr>
              <p:cNvSpPr/>
              <p:nvPr/>
            </p:nvSpPr>
            <p:spPr>
              <a:xfrm>
                <a:off x="9638198" y="2035206"/>
                <a:ext cx="443366" cy="358898"/>
              </a:xfrm>
              <a:custGeom>
                <a:avLst/>
                <a:gdLst>
                  <a:gd name="connsiteX0" fmla="*/ 160654 w 443366"/>
                  <a:gd name="connsiteY0" fmla="*/ 358295 h 358898"/>
                  <a:gd name="connsiteX1" fmla="*/ 64301 w 443366"/>
                  <a:gd name="connsiteY1" fmla="*/ 296389 h 358898"/>
                  <a:gd name="connsiteX2" fmla="*/ 335 w 443366"/>
                  <a:gd name="connsiteY2" fmla="*/ 98221 h 358898"/>
                  <a:gd name="connsiteX3" fmla="*/ 7942 w 443366"/>
                  <a:gd name="connsiteY3" fmla="*/ 54990 h 358898"/>
                  <a:gd name="connsiteX4" fmla="*/ 79746 w 443366"/>
                  <a:gd name="connsiteY4" fmla="*/ 578 h 358898"/>
                  <a:gd name="connsiteX5" fmla="*/ 177251 w 443366"/>
                  <a:gd name="connsiteY5" fmla="*/ 14988 h 358898"/>
                  <a:gd name="connsiteX6" fmla="*/ 404072 w 443366"/>
                  <a:gd name="connsiteY6" fmla="*/ 139376 h 358898"/>
                  <a:gd name="connsiteX7" fmla="*/ 414676 w 443366"/>
                  <a:gd name="connsiteY7" fmla="*/ 148138 h 358898"/>
                  <a:gd name="connsiteX8" fmla="*/ 416519 w 443366"/>
                  <a:gd name="connsiteY8" fmla="*/ 255926 h 358898"/>
                  <a:gd name="connsiteX9" fmla="*/ 160654 w 443366"/>
                  <a:gd name="connsiteY9" fmla="*/ 358295 h 35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3366" h="358898">
                    <a:moveTo>
                      <a:pt x="160654" y="358295"/>
                    </a:moveTo>
                    <a:cubicBezTo>
                      <a:pt x="130227" y="363253"/>
                      <a:pt x="93461" y="337199"/>
                      <a:pt x="64301" y="296389"/>
                    </a:cubicBezTo>
                    <a:cubicBezTo>
                      <a:pt x="22003" y="237135"/>
                      <a:pt x="-3238" y="172231"/>
                      <a:pt x="335" y="98221"/>
                    </a:cubicBezTo>
                    <a:cubicBezTo>
                      <a:pt x="1027" y="83695"/>
                      <a:pt x="3562" y="68824"/>
                      <a:pt x="7942" y="54990"/>
                    </a:cubicBezTo>
                    <a:cubicBezTo>
                      <a:pt x="18776" y="20867"/>
                      <a:pt x="43901" y="2768"/>
                      <a:pt x="79746" y="578"/>
                    </a:cubicBezTo>
                    <a:cubicBezTo>
                      <a:pt x="113285" y="-1497"/>
                      <a:pt x="146247" y="1730"/>
                      <a:pt x="177251" y="14988"/>
                    </a:cubicBezTo>
                    <a:cubicBezTo>
                      <a:pt x="257007" y="48880"/>
                      <a:pt x="333421" y="88768"/>
                      <a:pt x="404072" y="139376"/>
                    </a:cubicBezTo>
                    <a:cubicBezTo>
                      <a:pt x="407760" y="142028"/>
                      <a:pt x="411448" y="145025"/>
                      <a:pt x="414676" y="148138"/>
                    </a:cubicBezTo>
                    <a:cubicBezTo>
                      <a:pt x="451442" y="183414"/>
                      <a:pt x="453746" y="221572"/>
                      <a:pt x="416519" y="255926"/>
                    </a:cubicBezTo>
                    <a:cubicBezTo>
                      <a:pt x="351055" y="316333"/>
                      <a:pt x="274065" y="352301"/>
                      <a:pt x="160654" y="35829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5" name="Freeform 264">
                <a:extLst>
                  <a:ext uri="{FF2B5EF4-FFF2-40B4-BE49-F238E27FC236}">
                    <a16:creationId xmlns:a16="http://schemas.microsoft.com/office/drawing/2014/main" id="{A5672E62-50E8-6620-62DF-2D645DFDE6C5}"/>
                  </a:ext>
                </a:extLst>
              </p:cNvPr>
              <p:cNvSpPr/>
              <p:nvPr/>
            </p:nvSpPr>
            <p:spPr>
              <a:xfrm>
                <a:off x="10384714" y="2291160"/>
                <a:ext cx="354416" cy="469750"/>
              </a:xfrm>
              <a:custGeom>
                <a:avLst/>
                <a:gdLst>
                  <a:gd name="connsiteX0" fmla="*/ 290073 w 354416"/>
                  <a:gd name="connsiteY0" fmla="*/ 469627 h 469750"/>
                  <a:gd name="connsiteX1" fmla="*/ 223917 w 354416"/>
                  <a:gd name="connsiteY1" fmla="*/ 450029 h 469750"/>
                  <a:gd name="connsiteX2" fmla="*/ 41469 w 354416"/>
                  <a:gd name="connsiteY2" fmla="*/ 330483 h 469750"/>
                  <a:gd name="connsiteX3" fmla="*/ 17150 w 354416"/>
                  <a:gd name="connsiteY3" fmla="*/ 216585 h 469750"/>
                  <a:gd name="connsiteX4" fmla="*/ 168826 w 354416"/>
                  <a:gd name="connsiteY4" fmla="*/ 27523 h 469750"/>
                  <a:gd name="connsiteX5" fmla="*/ 197524 w 354416"/>
                  <a:gd name="connsiteY5" fmla="*/ 6542 h 469750"/>
                  <a:gd name="connsiteX6" fmla="*/ 266101 w 354416"/>
                  <a:gd name="connsiteY6" fmla="*/ 23027 h 469750"/>
                  <a:gd name="connsiteX7" fmla="*/ 282351 w 354416"/>
                  <a:gd name="connsiteY7" fmla="*/ 57496 h 469750"/>
                  <a:gd name="connsiteX8" fmla="*/ 351389 w 354416"/>
                  <a:gd name="connsiteY8" fmla="*/ 378324 h 469750"/>
                  <a:gd name="connsiteX9" fmla="*/ 354385 w 354416"/>
                  <a:gd name="connsiteY9" fmla="*/ 405646 h 469750"/>
                  <a:gd name="connsiteX10" fmla="*/ 289843 w 354416"/>
                  <a:gd name="connsiteY10" fmla="*/ 469743 h 469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4416" h="469750">
                    <a:moveTo>
                      <a:pt x="290073" y="469627"/>
                    </a:moveTo>
                    <a:cubicBezTo>
                      <a:pt x="267022" y="470549"/>
                      <a:pt x="244433" y="463402"/>
                      <a:pt x="223917" y="450029"/>
                    </a:cubicBezTo>
                    <a:cubicBezTo>
                      <a:pt x="162948" y="410373"/>
                      <a:pt x="101978" y="370831"/>
                      <a:pt x="41469" y="330483"/>
                    </a:cubicBezTo>
                    <a:cubicBezTo>
                      <a:pt x="-3135" y="300625"/>
                      <a:pt x="-12586" y="260622"/>
                      <a:pt x="17150" y="216585"/>
                    </a:cubicBezTo>
                    <a:cubicBezTo>
                      <a:pt x="62561" y="149491"/>
                      <a:pt x="110852" y="84472"/>
                      <a:pt x="168826" y="27523"/>
                    </a:cubicBezTo>
                    <a:cubicBezTo>
                      <a:pt x="177239" y="19223"/>
                      <a:pt x="187035" y="11845"/>
                      <a:pt x="197524" y="6542"/>
                    </a:cubicBezTo>
                    <a:cubicBezTo>
                      <a:pt x="222995" y="-6254"/>
                      <a:pt x="249504" y="-29"/>
                      <a:pt x="266101" y="23027"/>
                    </a:cubicBezTo>
                    <a:cubicBezTo>
                      <a:pt x="273361" y="33172"/>
                      <a:pt x="279124" y="45392"/>
                      <a:pt x="282351" y="57496"/>
                    </a:cubicBezTo>
                    <a:cubicBezTo>
                      <a:pt x="310589" y="163325"/>
                      <a:pt x="334561" y="270075"/>
                      <a:pt x="351389" y="378324"/>
                    </a:cubicBezTo>
                    <a:cubicBezTo>
                      <a:pt x="352772" y="387432"/>
                      <a:pt x="354155" y="396539"/>
                      <a:pt x="354385" y="405646"/>
                    </a:cubicBezTo>
                    <a:cubicBezTo>
                      <a:pt x="355308" y="450606"/>
                      <a:pt x="336060" y="470204"/>
                      <a:pt x="289843" y="46974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6" name="Freeform 265">
                <a:extLst>
                  <a:ext uri="{FF2B5EF4-FFF2-40B4-BE49-F238E27FC236}">
                    <a16:creationId xmlns:a16="http://schemas.microsoft.com/office/drawing/2014/main" id="{586447BB-5056-1C95-744B-4810AA90BF8B}"/>
                  </a:ext>
                </a:extLst>
              </p:cNvPr>
              <p:cNvSpPr/>
              <p:nvPr/>
            </p:nvSpPr>
            <p:spPr>
              <a:xfrm>
                <a:off x="7402737" y="2130030"/>
                <a:ext cx="377910" cy="369412"/>
              </a:xfrm>
              <a:custGeom>
                <a:avLst/>
                <a:gdLst>
                  <a:gd name="connsiteX0" fmla="*/ 180692 w 377910"/>
                  <a:gd name="connsiteY0" fmla="*/ 515 h 369412"/>
                  <a:gd name="connsiteX1" fmla="*/ 336400 w 377910"/>
                  <a:gd name="connsiteY1" fmla="*/ 40633 h 369412"/>
                  <a:gd name="connsiteX2" fmla="*/ 377892 w 377910"/>
                  <a:gd name="connsiteY2" fmla="*/ 112684 h 369412"/>
                  <a:gd name="connsiteX3" fmla="*/ 341702 w 377910"/>
                  <a:gd name="connsiteY3" fmla="*/ 258860 h 369412"/>
                  <a:gd name="connsiteX4" fmla="*/ 296522 w 377910"/>
                  <a:gd name="connsiteY4" fmla="*/ 331257 h 369412"/>
                  <a:gd name="connsiteX5" fmla="*/ 188068 w 377910"/>
                  <a:gd name="connsiteY5" fmla="*/ 356273 h 369412"/>
                  <a:gd name="connsiteX6" fmla="*/ 82494 w 377910"/>
                  <a:gd name="connsiteY6" fmla="*/ 276729 h 369412"/>
                  <a:gd name="connsiteX7" fmla="*/ 39159 w 377910"/>
                  <a:gd name="connsiteY7" fmla="*/ 238340 h 369412"/>
                  <a:gd name="connsiteX8" fmla="*/ 19681 w 377910"/>
                  <a:gd name="connsiteY8" fmla="*/ 111646 h 369412"/>
                  <a:gd name="connsiteX9" fmla="*/ 85030 w 377910"/>
                  <a:gd name="connsiteY9" fmla="*/ 26223 h 369412"/>
                  <a:gd name="connsiteX10" fmla="*/ 147498 w 377910"/>
                  <a:gd name="connsiteY10" fmla="*/ 630 h 369412"/>
                  <a:gd name="connsiteX11" fmla="*/ 180576 w 377910"/>
                  <a:gd name="connsiteY11" fmla="*/ 400 h 369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7910" h="369412">
                    <a:moveTo>
                      <a:pt x="180692" y="515"/>
                    </a:moveTo>
                    <a:cubicBezTo>
                      <a:pt x="236244" y="-407"/>
                      <a:pt x="287878" y="13311"/>
                      <a:pt x="336400" y="40633"/>
                    </a:cubicBezTo>
                    <a:cubicBezTo>
                      <a:pt x="365329" y="56888"/>
                      <a:pt x="378468" y="80174"/>
                      <a:pt x="377892" y="112684"/>
                    </a:cubicBezTo>
                    <a:cubicBezTo>
                      <a:pt x="377085" y="164214"/>
                      <a:pt x="364638" y="213094"/>
                      <a:pt x="341702" y="258860"/>
                    </a:cubicBezTo>
                    <a:cubicBezTo>
                      <a:pt x="328909" y="284222"/>
                      <a:pt x="313580" y="308547"/>
                      <a:pt x="296522" y="331257"/>
                    </a:cubicBezTo>
                    <a:cubicBezTo>
                      <a:pt x="265403" y="372874"/>
                      <a:pt x="234515" y="379214"/>
                      <a:pt x="188068" y="356273"/>
                    </a:cubicBezTo>
                    <a:cubicBezTo>
                      <a:pt x="147844" y="336445"/>
                      <a:pt x="115918" y="305665"/>
                      <a:pt x="82494" y="276729"/>
                    </a:cubicBezTo>
                    <a:cubicBezTo>
                      <a:pt x="67857" y="264048"/>
                      <a:pt x="53912" y="250675"/>
                      <a:pt x="39159" y="238340"/>
                    </a:cubicBezTo>
                    <a:cubicBezTo>
                      <a:pt x="-4868" y="201681"/>
                      <a:pt x="-12360" y="159257"/>
                      <a:pt x="19681" y="111646"/>
                    </a:cubicBezTo>
                    <a:cubicBezTo>
                      <a:pt x="39735" y="82019"/>
                      <a:pt x="62095" y="53775"/>
                      <a:pt x="85030" y="26223"/>
                    </a:cubicBezTo>
                    <a:cubicBezTo>
                      <a:pt x="100705" y="7432"/>
                      <a:pt x="124332" y="3282"/>
                      <a:pt x="147498" y="630"/>
                    </a:cubicBezTo>
                    <a:cubicBezTo>
                      <a:pt x="158447" y="-638"/>
                      <a:pt x="169627" y="400"/>
                      <a:pt x="180576" y="40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7" name="Freeform 266">
                <a:extLst>
                  <a:ext uri="{FF2B5EF4-FFF2-40B4-BE49-F238E27FC236}">
                    <a16:creationId xmlns:a16="http://schemas.microsoft.com/office/drawing/2014/main" id="{9B5F52FB-1D51-AACE-05B3-537273693F40}"/>
                  </a:ext>
                </a:extLst>
              </p:cNvPr>
              <p:cNvSpPr/>
              <p:nvPr/>
            </p:nvSpPr>
            <p:spPr>
              <a:xfrm>
                <a:off x="5961049" y="4561524"/>
                <a:ext cx="371819" cy="365670"/>
              </a:xfrm>
              <a:custGeom>
                <a:avLst/>
                <a:gdLst>
                  <a:gd name="connsiteX0" fmla="*/ 127873 w 371819"/>
                  <a:gd name="connsiteY0" fmla="*/ 365630 h 365670"/>
                  <a:gd name="connsiteX1" fmla="*/ 67594 w 371819"/>
                  <a:gd name="connsiteY1" fmla="*/ 341306 h 365670"/>
                  <a:gd name="connsiteX2" fmla="*/ 6048 w 371819"/>
                  <a:gd name="connsiteY2" fmla="*/ 227984 h 365670"/>
                  <a:gd name="connsiteX3" fmla="*/ 24374 w 371819"/>
                  <a:gd name="connsiteY3" fmla="*/ 126076 h 365670"/>
                  <a:gd name="connsiteX4" fmla="*/ 105283 w 371819"/>
                  <a:gd name="connsiteY4" fmla="*/ 32121 h 365670"/>
                  <a:gd name="connsiteX5" fmla="*/ 132022 w 371819"/>
                  <a:gd name="connsiteY5" fmla="*/ 12754 h 365670"/>
                  <a:gd name="connsiteX6" fmla="*/ 222497 w 371819"/>
                  <a:gd name="connsiteY6" fmla="*/ 16789 h 365670"/>
                  <a:gd name="connsiteX7" fmla="*/ 328761 w 371819"/>
                  <a:gd name="connsiteY7" fmla="*/ 135298 h 365670"/>
                  <a:gd name="connsiteX8" fmla="*/ 362762 w 371819"/>
                  <a:gd name="connsiteY8" fmla="*/ 195245 h 365670"/>
                  <a:gd name="connsiteX9" fmla="*/ 349738 w 371819"/>
                  <a:gd name="connsiteY9" fmla="*/ 272829 h 365670"/>
                  <a:gd name="connsiteX10" fmla="*/ 284965 w 371819"/>
                  <a:gd name="connsiteY10" fmla="*/ 318711 h 365670"/>
                  <a:gd name="connsiteX11" fmla="*/ 140666 w 371819"/>
                  <a:gd name="connsiteY11" fmla="*/ 364478 h 365670"/>
                  <a:gd name="connsiteX12" fmla="*/ 127988 w 371819"/>
                  <a:gd name="connsiteY12" fmla="*/ 365515 h 36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1819" h="365670">
                    <a:moveTo>
                      <a:pt x="127873" y="365630"/>
                    </a:moveTo>
                    <a:cubicBezTo>
                      <a:pt x="101364" y="366322"/>
                      <a:pt x="82116" y="358137"/>
                      <a:pt x="67594" y="341306"/>
                    </a:cubicBezTo>
                    <a:cubicBezTo>
                      <a:pt x="38896" y="308105"/>
                      <a:pt x="20340" y="269025"/>
                      <a:pt x="6048" y="227984"/>
                    </a:cubicBezTo>
                    <a:cubicBezTo>
                      <a:pt x="-6975" y="191094"/>
                      <a:pt x="1899" y="155934"/>
                      <a:pt x="24374" y="126076"/>
                    </a:cubicBezTo>
                    <a:cubicBezTo>
                      <a:pt x="49154" y="93105"/>
                      <a:pt x="77506" y="62786"/>
                      <a:pt x="105283" y="32121"/>
                    </a:cubicBezTo>
                    <a:cubicBezTo>
                      <a:pt x="112544" y="24167"/>
                      <a:pt x="122571" y="18403"/>
                      <a:pt x="132022" y="12754"/>
                    </a:cubicBezTo>
                    <a:cubicBezTo>
                      <a:pt x="162910" y="-5576"/>
                      <a:pt x="192876" y="-4077"/>
                      <a:pt x="222497" y="16789"/>
                    </a:cubicBezTo>
                    <a:cubicBezTo>
                      <a:pt x="267100" y="48146"/>
                      <a:pt x="299371" y="90454"/>
                      <a:pt x="328761" y="135298"/>
                    </a:cubicBezTo>
                    <a:cubicBezTo>
                      <a:pt x="341324" y="154550"/>
                      <a:pt x="352504" y="174725"/>
                      <a:pt x="362762" y="195245"/>
                    </a:cubicBezTo>
                    <a:cubicBezTo>
                      <a:pt x="377744" y="225333"/>
                      <a:pt x="374633" y="250349"/>
                      <a:pt x="349738" y="272829"/>
                    </a:cubicBezTo>
                    <a:cubicBezTo>
                      <a:pt x="330144" y="290467"/>
                      <a:pt x="308246" y="306721"/>
                      <a:pt x="284965" y="318711"/>
                    </a:cubicBezTo>
                    <a:cubicBezTo>
                      <a:pt x="239670" y="341882"/>
                      <a:pt x="190571" y="355024"/>
                      <a:pt x="140666" y="364478"/>
                    </a:cubicBezTo>
                    <a:cubicBezTo>
                      <a:pt x="135249" y="365515"/>
                      <a:pt x="129717" y="365400"/>
                      <a:pt x="127988" y="36551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8" name="Freeform 267">
                <a:extLst>
                  <a:ext uri="{FF2B5EF4-FFF2-40B4-BE49-F238E27FC236}">
                    <a16:creationId xmlns:a16="http://schemas.microsoft.com/office/drawing/2014/main" id="{06178B56-91DD-D447-FE7E-DB29D56DCEE7}"/>
                  </a:ext>
                </a:extLst>
              </p:cNvPr>
              <p:cNvSpPr/>
              <p:nvPr/>
            </p:nvSpPr>
            <p:spPr>
              <a:xfrm>
                <a:off x="7392647" y="4578562"/>
                <a:ext cx="323324" cy="399176"/>
              </a:xfrm>
              <a:custGeom>
                <a:avLst/>
                <a:gdLst>
                  <a:gd name="connsiteX0" fmla="*/ 321596 w 323324"/>
                  <a:gd name="connsiteY0" fmla="*/ 326688 h 399176"/>
                  <a:gd name="connsiteX1" fmla="*/ 321596 w 323324"/>
                  <a:gd name="connsiteY1" fmla="*/ 343289 h 399176"/>
                  <a:gd name="connsiteX2" fmla="*/ 270768 w 323324"/>
                  <a:gd name="connsiteY2" fmla="*/ 397817 h 399176"/>
                  <a:gd name="connsiteX3" fmla="*/ 223975 w 323324"/>
                  <a:gd name="connsiteY3" fmla="*/ 397586 h 399176"/>
                  <a:gd name="connsiteX4" fmla="*/ 56510 w 323324"/>
                  <a:gd name="connsiteY4" fmla="*/ 330377 h 399176"/>
                  <a:gd name="connsiteX5" fmla="*/ 1534 w 323324"/>
                  <a:gd name="connsiteY5" fmla="*/ 206565 h 399176"/>
                  <a:gd name="connsiteX6" fmla="*/ 85209 w 323324"/>
                  <a:gd name="connsiteY6" fmla="*/ 30415 h 399176"/>
                  <a:gd name="connsiteX7" fmla="*/ 140531 w 323324"/>
                  <a:gd name="connsiteY7" fmla="*/ 1249 h 399176"/>
                  <a:gd name="connsiteX8" fmla="*/ 224897 w 323324"/>
                  <a:gd name="connsiteY8" fmla="*/ 36871 h 399176"/>
                  <a:gd name="connsiteX9" fmla="*/ 260395 w 323324"/>
                  <a:gd name="connsiteY9" fmla="*/ 98777 h 399176"/>
                  <a:gd name="connsiteX10" fmla="*/ 316755 w 323324"/>
                  <a:gd name="connsiteY10" fmla="*/ 280345 h 399176"/>
                  <a:gd name="connsiteX11" fmla="*/ 323325 w 323324"/>
                  <a:gd name="connsiteY11" fmla="*/ 326573 h 399176"/>
                  <a:gd name="connsiteX12" fmla="*/ 321826 w 323324"/>
                  <a:gd name="connsiteY12" fmla="*/ 326803 h 399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3324" h="399176">
                    <a:moveTo>
                      <a:pt x="321596" y="326688"/>
                    </a:moveTo>
                    <a:cubicBezTo>
                      <a:pt x="321596" y="332222"/>
                      <a:pt x="321826" y="337755"/>
                      <a:pt x="321596" y="343289"/>
                    </a:cubicBezTo>
                    <a:cubicBezTo>
                      <a:pt x="319867" y="375798"/>
                      <a:pt x="303040" y="394589"/>
                      <a:pt x="270768" y="397817"/>
                    </a:cubicBezTo>
                    <a:cubicBezTo>
                      <a:pt x="255324" y="399315"/>
                      <a:pt x="239189" y="400007"/>
                      <a:pt x="223975" y="397586"/>
                    </a:cubicBezTo>
                    <a:cubicBezTo>
                      <a:pt x="163236" y="387787"/>
                      <a:pt x="107222" y="366114"/>
                      <a:pt x="56510" y="330377"/>
                    </a:cubicBezTo>
                    <a:cubicBezTo>
                      <a:pt x="12829" y="299597"/>
                      <a:pt x="-5728" y="258326"/>
                      <a:pt x="1534" y="206565"/>
                    </a:cubicBezTo>
                    <a:cubicBezTo>
                      <a:pt x="10985" y="139471"/>
                      <a:pt x="36110" y="78949"/>
                      <a:pt x="85209" y="30415"/>
                    </a:cubicBezTo>
                    <a:cubicBezTo>
                      <a:pt x="100537" y="15198"/>
                      <a:pt x="118978" y="4707"/>
                      <a:pt x="140531" y="1249"/>
                    </a:cubicBezTo>
                    <a:cubicBezTo>
                      <a:pt x="175799" y="-4285"/>
                      <a:pt x="204497" y="8742"/>
                      <a:pt x="224897" y="36871"/>
                    </a:cubicBezTo>
                    <a:cubicBezTo>
                      <a:pt x="238843" y="56123"/>
                      <a:pt x="252673" y="76643"/>
                      <a:pt x="260395" y="98777"/>
                    </a:cubicBezTo>
                    <a:cubicBezTo>
                      <a:pt x="281141" y="158723"/>
                      <a:pt x="298890" y="219592"/>
                      <a:pt x="316755" y="280345"/>
                    </a:cubicBezTo>
                    <a:cubicBezTo>
                      <a:pt x="321135" y="295101"/>
                      <a:pt x="321250" y="311125"/>
                      <a:pt x="323325" y="326573"/>
                    </a:cubicBezTo>
                    <a:cubicBezTo>
                      <a:pt x="322864" y="326573"/>
                      <a:pt x="322287" y="326688"/>
                      <a:pt x="321826" y="32680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69" name="Freeform 268">
                <a:extLst>
                  <a:ext uri="{FF2B5EF4-FFF2-40B4-BE49-F238E27FC236}">
                    <a16:creationId xmlns:a16="http://schemas.microsoft.com/office/drawing/2014/main" id="{B06C6C46-05B4-DACD-3AA7-6C56EE6E94F0}"/>
                  </a:ext>
                </a:extLst>
              </p:cNvPr>
              <p:cNvSpPr/>
              <p:nvPr/>
            </p:nvSpPr>
            <p:spPr>
              <a:xfrm>
                <a:off x="8193664" y="1975526"/>
                <a:ext cx="305938" cy="305345"/>
              </a:xfrm>
              <a:custGeom>
                <a:avLst/>
                <a:gdLst>
                  <a:gd name="connsiteX0" fmla="*/ 153441 w 305938"/>
                  <a:gd name="connsiteY0" fmla="*/ 305230 h 305345"/>
                  <a:gd name="connsiteX1" fmla="*/ 115177 w 305938"/>
                  <a:gd name="connsiteY1" fmla="*/ 300734 h 305345"/>
                  <a:gd name="connsiteX2" fmla="*/ 7990 w 305938"/>
                  <a:gd name="connsiteY2" fmla="*/ 204474 h 305345"/>
                  <a:gd name="connsiteX3" fmla="*/ 11447 w 305938"/>
                  <a:gd name="connsiteY3" fmla="*/ 105332 h 305345"/>
                  <a:gd name="connsiteX4" fmla="*/ 71034 w 305938"/>
                  <a:gd name="connsiteY4" fmla="*/ 24404 h 305345"/>
                  <a:gd name="connsiteX5" fmla="*/ 255902 w 305938"/>
                  <a:gd name="connsiteY5" fmla="*/ 38123 h 305345"/>
                  <a:gd name="connsiteX6" fmla="*/ 303733 w 305938"/>
                  <a:gd name="connsiteY6" fmla="*/ 184184 h 305345"/>
                  <a:gd name="connsiteX7" fmla="*/ 153326 w 305938"/>
                  <a:gd name="connsiteY7" fmla="*/ 305345 h 305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5938" h="305345">
                    <a:moveTo>
                      <a:pt x="153441" y="305230"/>
                    </a:moveTo>
                    <a:cubicBezTo>
                      <a:pt x="140648" y="303731"/>
                      <a:pt x="127855" y="302924"/>
                      <a:pt x="115177" y="300734"/>
                    </a:cubicBezTo>
                    <a:cubicBezTo>
                      <a:pt x="59278" y="291165"/>
                      <a:pt x="27468" y="255313"/>
                      <a:pt x="7990" y="204474"/>
                    </a:cubicBezTo>
                    <a:cubicBezTo>
                      <a:pt x="-5034" y="170351"/>
                      <a:pt x="-885" y="138187"/>
                      <a:pt x="11447" y="105332"/>
                    </a:cubicBezTo>
                    <a:cubicBezTo>
                      <a:pt x="23665" y="72592"/>
                      <a:pt x="42221" y="44348"/>
                      <a:pt x="71034" y="24404"/>
                    </a:cubicBezTo>
                    <a:cubicBezTo>
                      <a:pt x="124166" y="-12370"/>
                      <a:pt x="205536" y="-7413"/>
                      <a:pt x="255902" y="38123"/>
                    </a:cubicBezTo>
                    <a:cubicBezTo>
                      <a:pt x="298662" y="76857"/>
                      <a:pt x="311686" y="128273"/>
                      <a:pt x="303733" y="184184"/>
                    </a:cubicBezTo>
                    <a:cubicBezTo>
                      <a:pt x="292669" y="260962"/>
                      <a:pt x="237577" y="304077"/>
                      <a:pt x="153326" y="30534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0" name="Freeform 269">
                <a:extLst>
                  <a:ext uri="{FF2B5EF4-FFF2-40B4-BE49-F238E27FC236}">
                    <a16:creationId xmlns:a16="http://schemas.microsoft.com/office/drawing/2014/main" id="{3A933FEF-270C-D714-370F-193CF008966D}"/>
                  </a:ext>
                </a:extLst>
              </p:cNvPr>
              <p:cNvSpPr/>
              <p:nvPr/>
            </p:nvSpPr>
            <p:spPr>
              <a:xfrm>
                <a:off x="6621167" y="2899010"/>
                <a:ext cx="264358" cy="359766"/>
              </a:xfrm>
              <a:custGeom>
                <a:avLst/>
                <a:gdLst>
                  <a:gd name="connsiteX0" fmla="*/ 0 w 264358"/>
                  <a:gd name="connsiteY0" fmla="*/ 97067 h 359766"/>
                  <a:gd name="connsiteX1" fmla="*/ 9681 w 264358"/>
                  <a:gd name="connsiteY1" fmla="*/ 33893 h 359766"/>
                  <a:gd name="connsiteX2" fmla="*/ 57051 w 264358"/>
                  <a:gd name="connsiteY2" fmla="*/ 0 h 359766"/>
                  <a:gd name="connsiteX3" fmla="*/ 81485 w 264358"/>
                  <a:gd name="connsiteY3" fmla="*/ 3113 h 359766"/>
                  <a:gd name="connsiteX4" fmla="*/ 227282 w 264358"/>
                  <a:gd name="connsiteY4" fmla="*/ 88651 h 359766"/>
                  <a:gd name="connsiteX5" fmla="*/ 251140 w 264358"/>
                  <a:gd name="connsiteY5" fmla="*/ 227911 h 359766"/>
                  <a:gd name="connsiteX6" fmla="*/ 157784 w 264358"/>
                  <a:gd name="connsiteY6" fmla="*/ 344576 h 359766"/>
                  <a:gd name="connsiteX7" fmla="*/ 100272 w 264358"/>
                  <a:gd name="connsiteY7" fmla="*/ 359562 h 359766"/>
                  <a:gd name="connsiteX8" fmla="*/ 49675 w 264358"/>
                  <a:gd name="connsiteY8" fmla="*/ 331203 h 359766"/>
                  <a:gd name="connsiteX9" fmla="*/ 21668 w 264358"/>
                  <a:gd name="connsiteY9" fmla="*/ 263187 h 359766"/>
                  <a:gd name="connsiteX10" fmla="*/ 0 w 264358"/>
                  <a:gd name="connsiteY10" fmla="*/ 97182 h 359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4358" h="359766">
                    <a:moveTo>
                      <a:pt x="0" y="97067"/>
                    </a:moveTo>
                    <a:cubicBezTo>
                      <a:pt x="3458" y="73434"/>
                      <a:pt x="4380" y="53029"/>
                      <a:pt x="9681" y="33893"/>
                    </a:cubicBezTo>
                    <a:cubicBezTo>
                      <a:pt x="16481" y="9799"/>
                      <a:pt x="32041" y="0"/>
                      <a:pt x="57051" y="0"/>
                    </a:cubicBezTo>
                    <a:cubicBezTo>
                      <a:pt x="65234" y="0"/>
                      <a:pt x="73648" y="807"/>
                      <a:pt x="81485" y="3113"/>
                    </a:cubicBezTo>
                    <a:cubicBezTo>
                      <a:pt x="137268" y="19367"/>
                      <a:pt x="186252" y="47381"/>
                      <a:pt x="227282" y="88651"/>
                    </a:cubicBezTo>
                    <a:cubicBezTo>
                      <a:pt x="267621" y="129230"/>
                      <a:pt x="274191" y="174766"/>
                      <a:pt x="251140" y="227911"/>
                    </a:cubicBezTo>
                    <a:cubicBezTo>
                      <a:pt x="230625" y="275177"/>
                      <a:pt x="201581" y="315756"/>
                      <a:pt x="157784" y="344576"/>
                    </a:cubicBezTo>
                    <a:cubicBezTo>
                      <a:pt x="140150" y="356219"/>
                      <a:pt x="121133" y="360831"/>
                      <a:pt x="100272" y="359562"/>
                    </a:cubicBezTo>
                    <a:cubicBezTo>
                      <a:pt x="78604" y="358179"/>
                      <a:pt x="59702" y="350455"/>
                      <a:pt x="49675" y="331203"/>
                    </a:cubicBezTo>
                    <a:cubicBezTo>
                      <a:pt x="38265" y="309530"/>
                      <a:pt x="25817" y="286820"/>
                      <a:pt x="21668" y="263187"/>
                    </a:cubicBezTo>
                    <a:cubicBezTo>
                      <a:pt x="11871" y="207276"/>
                      <a:pt x="6685" y="150558"/>
                      <a:pt x="0" y="9718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1" name="Freeform 270">
                <a:extLst>
                  <a:ext uri="{FF2B5EF4-FFF2-40B4-BE49-F238E27FC236}">
                    <a16:creationId xmlns:a16="http://schemas.microsoft.com/office/drawing/2014/main" id="{626B894D-7F48-211D-AFE8-AB439579A2C2}"/>
                  </a:ext>
                </a:extLst>
              </p:cNvPr>
              <p:cNvSpPr/>
              <p:nvPr/>
            </p:nvSpPr>
            <p:spPr>
              <a:xfrm>
                <a:off x="8559810" y="4512272"/>
                <a:ext cx="275283" cy="270203"/>
              </a:xfrm>
              <a:custGeom>
                <a:avLst/>
                <a:gdLst>
                  <a:gd name="connsiteX0" fmla="*/ 275283 w 275283"/>
                  <a:gd name="connsiteY0" fmla="*/ 128408 h 270203"/>
                  <a:gd name="connsiteX1" fmla="*/ 124530 w 275283"/>
                  <a:gd name="connsiteY1" fmla="*/ 270204 h 270203"/>
                  <a:gd name="connsiteX2" fmla="*/ 27486 w 275283"/>
                  <a:gd name="connsiteY2" fmla="*/ 206914 h 270203"/>
                  <a:gd name="connsiteX3" fmla="*/ 977 w 275283"/>
                  <a:gd name="connsiteY3" fmla="*/ 82065 h 270203"/>
                  <a:gd name="connsiteX4" fmla="*/ 46388 w 275283"/>
                  <a:gd name="connsiteY4" fmla="*/ 19006 h 270203"/>
                  <a:gd name="connsiteX5" fmla="*/ 206015 w 275283"/>
                  <a:gd name="connsiteY5" fmla="*/ 6325 h 270203"/>
                  <a:gd name="connsiteX6" fmla="*/ 257995 w 275283"/>
                  <a:gd name="connsiteY6" fmla="*/ 53821 h 270203"/>
                  <a:gd name="connsiteX7" fmla="*/ 275168 w 275283"/>
                  <a:gd name="connsiteY7" fmla="*/ 128408 h 270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5283" h="270203">
                    <a:moveTo>
                      <a:pt x="275283" y="128408"/>
                    </a:moveTo>
                    <a:cubicBezTo>
                      <a:pt x="274131" y="225590"/>
                      <a:pt x="194144" y="270204"/>
                      <a:pt x="124530" y="270204"/>
                    </a:cubicBezTo>
                    <a:cubicBezTo>
                      <a:pt x="80388" y="270204"/>
                      <a:pt x="48347" y="243920"/>
                      <a:pt x="27486" y="206914"/>
                    </a:cubicBezTo>
                    <a:cubicBezTo>
                      <a:pt x="5933" y="168641"/>
                      <a:pt x="-3172" y="126448"/>
                      <a:pt x="977" y="82065"/>
                    </a:cubicBezTo>
                    <a:cubicBezTo>
                      <a:pt x="3743" y="52322"/>
                      <a:pt x="16882" y="29957"/>
                      <a:pt x="46388" y="19006"/>
                    </a:cubicBezTo>
                    <a:cubicBezTo>
                      <a:pt x="98483" y="-362"/>
                      <a:pt x="151615" y="-5549"/>
                      <a:pt x="206015" y="6325"/>
                    </a:cubicBezTo>
                    <a:cubicBezTo>
                      <a:pt x="232409" y="12089"/>
                      <a:pt x="250965" y="27421"/>
                      <a:pt x="257995" y="53821"/>
                    </a:cubicBezTo>
                    <a:cubicBezTo>
                      <a:pt x="264564" y="78491"/>
                      <a:pt x="269520" y="103507"/>
                      <a:pt x="275168" y="12840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2" name="Freeform 271">
                <a:extLst>
                  <a:ext uri="{FF2B5EF4-FFF2-40B4-BE49-F238E27FC236}">
                    <a16:creationId xmlns:a16="http://schemas.microsoft.com/office/drawing/2014/main" id="{08834CDB-1EAF-7AC2-0537-FBB4B0A83806}"/>
                  </a:ext>
                </a:extLst>
              </p:cNvPr>
              <p:cNvSpPr/>
              <p:nvPr/>
            </p:nvSpPr>
            <p:spPr>
              <a:xfrm>
                <a:off x="6566516" y="3584093"/>
                <a:ext cx="269090" cy="269825"/>
              </a:xfrm>
              <a:custGeom>
                <a:avLst/>
                <a:gdLst>
                  <a:gd name="connsiteX0" fmla="*/ 268564 w 269090"/>
                  <a:gd name="connsiteY0" fmla="*/ 127535 h 269825"/>
                  <a:gd name="connsiteX1" fmla="*/ 137635 w 269090"/>
                  <a:gd name="connsiteY1" fmla="*/ 269330 h 269825"/>
                  <a:gd name="connsiteX2" fmla="*/ 36902 w 269090"/>
                  <a:gd name="connsiteY2" fmla="*/ 222411 h 269825"/>
                  <a:gd name="connsiteX3" fmla="*/ 2556 w 269090"/>
                  <a:gd name="connsiteY3" fmla="*/ 70124 h 269825"/>
                  <a:gd name="connsiteX4" fmla="*/ 41512 w 269090"/>
                  <a:gd name="connsiteY4" fmla="*/ 20438 h 269825"/>
                  <a:gd name="connsiteX5" fmla="*/ 214970 w 269090"/>
                  <a:gd name="connsiteY5" fmla="*/ 9256 h 269825"/>
                  <a:gd name="connsiteX6" fmla="*/ 251967 w 269090"/>
                  <a:gd name="connsiteY6" fmla="*/ 43610 h 269825"/>
                  <a:gd name="connsiteX7" fmla="*/ 268564 w 269090"/>
                  <a:gd name="connsiteY7" fmla="*/ 127535 h 269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9090" h="269825">
                    <a:moveTo>
                      <a:pt x="268564" y="127535"/>
                    </a:moveTo>
                    <a:cubicBezTo>
                      <a:pt x="274327" y="218491"/>
                      <a:pt x="200448" y="263797"/>
                      <a:pt x="137635" y="269330"/>
                    </a:cubicBezTo>
                    <a:cubicBezTo>
                      <a:pt x="97180" y="272904"/>
                      <a:pt x="61105" y="257111"/>
                      <a:pt x="36902" y="222411"/>
                    </a:cubicBezTo>
                    <a:cubicBezTo>
                      <a:pt x="4977" y="176529"/>
                      <a:pt x="-5396" y="125344"/>
                      <a:pt x="2556" y="70124"/>
                    </a:cubicBezTo>
                    <a:cubicBezTo>
                      <a:pt x="6014" y="45915"/>
                      <a:pt x="19614" y="28623"/>
                      <a:pt x="41512" y="20438"/>
                    </a:cubicBezTo>
                    <a:cubicBezTo>
                      <a:pt x="97987" y="-774"/>
                      <a:pt x="155960" y="-7114"/>
                      <a:pt x="214970" y="9256"/>
                    </a:cubicBezTo>
                    <a:cubicBezTo>
                      <a:pt x="232950" y="14213"/>
                      <a:pt x="245974" y="25741"/>
                      <a:pt x="251967" y="43610"/>
                    </a:cubicBezTo>
                    <a:cubicBezTo>
                      <a:pt x="261188" y="71508"/>
                      <a:pt x="271561" y="99406"/>
                      <a:pt x="268564" y="12753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3" name="Freeform 272">
                <a:extLst>
                  <a:ext uri="{FF2B5EF4-FFF2-40B4-BE49-F238E27FC236}">
                    <a16:creationId xmlns:a16="http://schemas.microsoft.com/office/drawing/2014/main" id="{5FEAFE39-4339-EDEB-4071-86ABDF2CF8A9}"/>
                  </a:ext>
                </a:extLst>
              </p:cNvPr>
              <p:cNvSpPr/>
              <p:nvPr/>
            </p:nvSpPr>
            <p:spPr>
              <a:xfrm>
                <a:off x="9158177" y="504529"/>
                <a:ext cx="320615" cy="236068"/>
              </a:xfrm>
              <a:custGeom>
                <a:avLst/>
                <a:gdLst>
                  <a:gd name="connsiteX0" fmla="*/ 124911 w 320615"/>
                  <a:gd name="connsiteY0" fmla="*/ 236069 h 236068"/>
                  <a:gd name="connsiteX1" fmla="*/ 80538 w 320615"/>
                  <a:gd name="connsiteY1" fmla="*/ 209439 h 236068"/>
                  <a:gd name="connsiteX2" fmla="*/ 5623 w 320615"/>
                  <a:gd name="connsiteY2" fmla="*/ 64991 h 236068"/>
                  <a:gd name="connsiteX3" fmla="*/ 91 w 320615"/>
                  <a:gd name="connsiteY3" fmla="*/ 41013 h 236068"/>
                  <a:gd name="connsiteX4" fmla="*/ 33169 w 320615"/>
                  <a:gd name="connsiteY4" fmla="*/ 1125 h 236068"/>
                  <a:gd name="connsiteX5" fmla="*/ 66131 w 320615"/>
                  <a:gd name="connsiteY5" fmla="*/ 1471 h 236068"/>
                  <a:gd name="connsiteX6" fmla="*/ 268749 w 320615"/>
                  <a:gd name="connsiteY6" fmla="*/ 43549 h 236068"/>
                  <a:gd name="connsiteX7" fmla="*/ 292376 w 320615"/>
                  <a:gd name="connsiteY7" fmla="*/ 51273 h 236068"/>
                  <a:gd name="connsiteX8" fmla="*/ 311739 w 320615"/>
                  <a:gd name="connsiteY8" fmla="*/ 113986 h 236068"/>
                  <a:gd name="connsiteX9" fmla="*/ 281196 w 320615"/>
                  <a:gd name="connsiteY9" fmla="*/ 145342 h 236068"/>
                  <a:gd name="connsiteX10" fmla="*/ 163060 w 320615"/>
                  <a:gd name="connsiteY10" fmla="*/ 221889 h 236068"/>
                  <a:gd name="connsiteX11" fmla="*/ 124911 w 320615"/>
                  <a:gd name="connsiteY11" fmla="*/ 235953 h 23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615" h="236068">
                    <a:moveTo>
                      <a:pt x="124911" y="236069"/>
                    </a:moveTo>
                    <a:cubicBezTo>
                      <a:pt x="104050" y="235262"/>
                      <a:pt x="89298" y="225693"/>
                      <a:pt x="80538" y="209439"/>
                    </a:cubicBezTo>
                    <a:cubicBezTo>
                      <a:pt x="54837" y="161712"/>
                      <a:pt x="30057" y="113409"/>
                      <a:pt x="5623" y="64991"/>
                    </a:cubicBezTo>
                    <a:cubicBezTo>
                      <a:pt x="2050" y="57844"/>
                      <a:pt x="551" y="49082"/>
                      <a:pt x="91" y="41013"/>
                    </a:cubicBezTo>
                    <a:cubicBezTo>
                      <a:pt x="-1178" y="18648"/>
                      <a:pt x="10924" y="3777"/>
                      <a:pt x="33169" y="1125"/>
                    </a:cubicBezTo>
                    <a:cubicBezTo>
                      <a:pt x="44003" y="-143"/>
                      <a:pt x="55528" y="-719"/>
                      <a:pt x="66131" y="1471"/>
                    </a:cubicBezTo>
                    <a:cubicBezTo>
                      <a:pt x="133786" y="14959"/>
                      <a:pt x="201209" y="29254"/>
                      <a:pt x="268749" y="43549"/>
                    </a:cubicBezTo>
                    <a:cubicBezTo>
                      <a:pt x="276816" y="45278"/>
                      <a:pt x="284654" y="48160"/>
                      <a:pt x="292376" y="51273"/>
                    </a:cubicBezTo>
                    <a:cubicBezTo>
                      <a:pt x="320268" y="62801"/>
                      <a:pt x="329027" y="88739"/>
                      <a:pt x="311739" y="113986"/>
                    </a:cubicBezTo>
                    <a:cubicBezTo>
                      <a:pt x="303556" y="125975"/>
                      <a:pt x="293068" y="137273"/>
                      <a:pt x="281196" y="145342"/>
                    </a:cubicBezTo>
                    <a:cubicBezTo>
                      <a:pt x="242471" y="171857"/>
                      <a:pt x="203054" y="197334"/>
                      <a:pt x="163060" y="221889"/>
                    </a:cubicBezTo>
                    <a:cubicBezTo>
                      <a:pt x="151765" y="228806"/>
                      <a:pt x="137704" y="231342"/>
                      <a:pt x="124911" y="23595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4" name="Freeform 273">
                <a:extLst>
                  <a:ext uri="{FF2B5EF4-FFF2-40B4-BE49-F238E27FC236}">
                    <a16:creationId xmlns:a16="http://schemas.microsoft.com/office/drawing/2014/main" id="{76894878-9B73-2DEC-4410-064CC8E5B94A}"/>
                  </a:ext>
                </a:extLst>
              </p:cNvPr>
              <p:cNvSpPr/>
              <p:nvPr/>
            </p:nvSpPr>
            <p:spPr>
              <a:xfrm>
                <a:off x="6222011" y="5896587"/>
                <a:ext cx="244125" cy="246669"/>
              </a:xfrm>
              <a:custGeom>
                <a:avLst/>
                <a:gdLst>
                  <a:gd name="connsiteX0" fmla="*/ 124735 w 244125"/>
                  <a:gd name="connsiteY0" fmla="*/ 246670 h 246669"/>
                  <a:gd name="connsiteX1" fmla="*/ 57772 w 244125"/>
                  <a:gd name="connsiteY1" fmla="*/ 224651 h 246669"/>
                  <a:gd name="connsiteX2" fmla="*/ 7867 w 244125"/>
                  <a:gd name="connsiteY2" fmla="*/ 159748 h 246669"/>
                  <a:gd name="connsiteX3" fmla="*/ 4409 w 244125"/>
                  <a:gd name="connsiteY3" fmla="*/ 92308 h 246669"/>
                  <a:gd name="connsiteX4" fmla="*/ 118627 w 244125"/>
                  <a:gd name="connsiteY4" fmla="*/ 83 h 246669"/>
                  <a:gd name="connsiteX5" fmla="*/ 191813 w 244125"/>
                  <a:gd name="connsiteY5" fmla="*/ 28558 h 246669"/>
                  <a:gd name="connsiteX6" fmla="*/ 207834 w 244125"/>
                  <a:gd name="connsiteY6" fmla="*/ 43775 h 246669"/>
                  <a:gd name="connsiteX7" fmla="*/ 179135 w 244125"/>
                  <a:gd name="connsiteY7" fmla="*/ 225573 h 246669"/>
                  <a:gd name="connsiteX8" fmla="*/ 124851 w 244125"/>
                  <a:gd name="connsiteY8" fmla="*/ 246670 h 24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4125" h="246669">
                    <a:moveTo>
                      <a:pt x="124735" y="246670"/>
                    </a:moveTo>
                    <a:cubicBezTo>
                      <a:pt x="94654" y="245055"/>
                      <a:pt x="74715" y="238023"/>
                      <a:pt x="57772" y="224651"/>
                    </a:cubicBezTo>
                    <a:cubicBezTo>
                      <a:pt x="35759" y="207359"/>
                      <a:pt x="18586" y="186032"/>
                      <a:pt x="7867" y="159748"/>
                    </a:cubicBezTo>
                    <a:cubicBezTo>
                      <a:pt x="-1238" y="137499"/>
                      <a:pt x="-2506" y="115479"/>
                      <a:pt x="4409" y="92308"/>
                    </a:cubicBezTo>
                    <a:cubicBezTo>
                      <a:pt x="18009" y="46771"/>
                      <a:pt x="71372" y="2273"/>
                      <a:pt x="118627" y="83"/>
                    </a:cubicBezTo>
                    <a:cubicBezTo>
                      <a:pt x="146518" y="-1185"/>
                      <a:pt x="170146" y="12302"/>
                      <a:pt x="191813" y="28558"/>
                    </a:cubicBezTo>
                    <a:cubicBezTo>
                      <a:pt x="197692" y="32938"/>
                      <a:pt x="202647" y="38472"/>
                      <a:pt x="207834" y="43775"/>
                    </a:cubicBezTo>
                    <a:cubicBezTo>
                      <a:pt x="265922" y="102107"/>
                      <a:pt x="252783" y="187530"/>
                      <a:pt x="179135" y="225573"/>
                    </a:cubicBezTo>
                    <a:cubicBezTo>
                      <a:pt x="159773" y="235488"/>
                      <a:pt x="138451" y="241482"/>
                      <a:pt x="124851" y="24667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5" name="Freeform 274">
                <a:extLst>
                  <a:ext uri="{FF2B5EF4-FFF2-40B4-BE49-F238E27FC236}">
                    <a16:creationId xmlns:a16="http://schemas.microsoft.com/office/drawing/2014/main" id="{A2F621A5-AC21-08E8-96A1-1B62E6A9F775}"/>
                  </a:ext>
                </a:extLst>
              </p:cNvPr>
              <p:cNvSpPr/>
              <p:nvPr/>
            </p:nvSpPr>
            <p:spPr>
              <a:xfrm>
                <a:off x="4849924" y="6469961"/>
                <a:ext cx="245641" cy="243402"/>
              </a:xfrm>
              <a:custGeom>
                <a:avLst/>
                <a:gdLst>
                  <a:gd name="connsiteX0" fmla="*/ 119760 w 245641"/>
                  <a:gd name="connsiteY0" fmla="*/ 243131 h 243402"/>
                  <a:gd name="connsiteX1" fmla="*/ 10 w 245641"/>
                  <a:gd name="connsiteY1" fmla="*/ 124045 h 243402"/>
                  <a:gd name="connsiteX2" fmla="*/ 119644 w 245641"/>
                  <a:gd name="connsiteY2" fmla="*/ 3 h 243402"/>
                  <a:gd name="connsiteX3" fmla="*/ 245618 w 245641"/>
                  <a:gd name="connsiteY3" fmla="*/ 114707 h 243402"/>
                  <a:gd name="connsiteX4" fmla="*/ 119644 w 245641"/>
                  <a:gd name="connsiteY4" fmla="*/ 243131 h 243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641" h="243402">
                    <a:moveTo>
                      <a:pt x="119760" y="243131"/>
                    </a:moveTo>
                    <a:cubicBezTo>
                      <a:pt x="62939" y="248203"/>
                      <a:pt x="932" y="181340"/>
                      <a:pt x="10" y="124045"/>
                    </a:cubicBezTo>
                    <a:cubicBezTo>
                      <a:pt x="-912" y="65021"/>
                      <a:pt x="62132" y="463"/>
                      <a:pt x="119644" y="3"/>
                    </a:cubicBezTo>
                    <a:cubicBezTo>
                      <a:pt x="177733" y="-459"/>
                      <a:pt x="247116" y="60525"/>
                      <a:pt x="245618" y="114707"/>
                    </a:cubicBezTo>
                    <a:cubicBezTo>
                      <a:pt x="243658" y="187911"/>
                      <a:pt x="187068" y="241632"/>
                      <a:pt x="119644" y="243131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6" name="Freeform 275">
                <a:extLst>
                  <a:ext uri="{FF2B5EF4-FFF2-40B4-BE49-F238E27FC236}">
                    <a16:creationId xmlns:a16="http://schemas.microsoft.com/office/drawing/2014/main" id="{9E19FD74-F72F-4976-F739-5CF630EC1E45}"/>
                  </a:ext>
                </a:extLst>
              </p:cNvPr>
              <p:cNvSpPr/>
              <p:nvPr/>
            </p:nvSpPr>
            <p:spPr>
              <a:xfrm>
                <a:off x="4882436" y="5983242"/>
                <a:ext cx="243418" cy="243017"/>
              </a:xfrm>
              <a:custGeom>
                <a:avLst/>
                <a:gdLst>
                  <a:gd name="connsiteX0" fmla="*/ 243418 w 243418"/>
                  <a:gd name="connsiteY0" fmla="*/ 121280 h 243017"/>
                  <a:gd name="connsiteX1" fmla="*/ 114333 w 243418"/>
                  <a:gd name="connsiteY1" fmla="*/ 243017 h 243017"/>
                  <a:gd name="connsiteX2" fmla="*/ 0 w 243418"/>
                  <a:gd name="connsiteY2" fmla="*/ 118744 h 243017"/>
                  <a:gd name="connsiteX3" fmla="*/ 122746 w 243418"/>
                  <a:gd name="connsiteY3" fmla="*/ 4 h 243017"/>
                  <a:gd name="connsiteX4" fmla="*/ 243303 w 243418"/>
                  <a:gd name="connsiteY4" fmla="*/ 121396 h 24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3418" h="243017">
                    <a:moveTo>
                      <a:pt x="243418" y="121280"/>
                    </a:moveTo>
                    <a:cubicBezTo>
                      <a:pt x="243187" y="186068"/>
                      <a:pt x="183025" y="242902"/>
                      <a:pt x="114333" y="243017"/>
                    </a:cubicBezTo>
                    <a:cubicBezTo>
                      <a:pt x="57973" y="243133"/>
                      <a:pt x="-115" y="179958"/>
                      <a:pt x="0" y="118744"/>
                    </a:cubicBezTo>
                    <a:cubicBezTo>
                      <a:pt x="116" y="58683"/>
                      <a:pt x="61316" y="-572"/>
                      <a:pt x="122746" y="4"/>
                    </a:cubicBezTo>
                    <a:cubicBezTo>
                      <a:pt x="183716" y="580"/>
                      <a:pt x="243533" y="60758"/>
                      <a:pt x="243303" y="12139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7" name="Freeform 276">
                <a:extLst>
                  <a:ext uri="{FF2B5EF4-FFF2-40B4-BE49-F238E27FC236}">
                    <a16:creationId xmlns:a16="http://schemas.microsoft.com/office/drawing/2014/main" id="{D4E6CE47-C6C1-B97D-DDC9-0296458F54F8}"/>
                  </a:ext>
                </a:extLst>
              </p:cNvPr>
              <p:cNvSpPr/>
              <p:nvPr/>
            </p:nvSpPr>
            <p:spPr>
              <a:xfrm>
                <a:off x="5293434" y="6220956"/>
                <a:ext cx="164299" cy="161345"/>
              </a:xfrm>
              <a:custGeom>
                <a:avLst/>
                <a:gdLst>
                  <a:gd name="connsiteX0" fmla="*/ 77797 w 164299"/>
                  <a:gd name="connsiteY0" fmla="*/ 0 h 161345"/>
                  <a:gd name="connsiteX1" fmla="*/ 164238 w 164299"/>
                  <a:gd name="connsiteY1" fmla="*/ 73896 h 161345"/>
                  <a:gd name="connsiteX2" fmla="*/ 87133 w 164299"/>
                  <a:gd name="connsiteY2" fmla="*/ 161278 h 161345"/>
                  <a:gd name="connsiteX3" fmla="*/ 0 w 164299"/>
                  <a:gd name="connsiteY3" fmla="*/ 83579 h 161345"/>
                  <a:gd name="connsiteX4" fmla="*/ 77797 w 164299"/>
                  <a:gd name="connsiteY4" fmla="*/ 115 h 161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99" h="161345">
                    <a:moveTo>
                      <a:pt x="77797" y="0"/>
                    </a:moveTo>
                    <a:cubicBezTo>
                      <a:pt x="126089" y="0"/>
                      <a:pt x="162394" y="32164"/>
                      <a:pt x="164238" y="73896"/>
                    </a:cubicBezTo>
                    <a:cubicBezTo>
                      <a:pt x="165967" y="111477"/>
                      <a:pt x="130699" y="163469"/>
                      <a:pt x="87133" y="161278"/>
                    </a:cubicBezTo>
                    <a:cubicBezTo>
                      <a:pt x="39533" y="158858"/>
                      <a:pt x="-115" y="126002"/>
                      <a:pt x="0" y="83579"/>
                    </a:cubicBezTo>
                    <a:cubicBezTo>
                      <a:pt x="0" y="37928"/>
                      <a:pt x="35268" y="231"/>
                      <a:pt x="77797" y="11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13BF0A7A-575F-7346-E102-B20305AB3968}"/>
                  </a:ext>
                </a:extLst>
              </p:cNvPr>
              <p:cNvSpPr/>
              <p:nvPr/>
            </p:nvSpPr>
            <p:spPr>
              <a:xfrm>
                <a:off x="4656076" y="6371628"/>
                <a:ext cx="159403" cy="159090"/>
              </a:xfrm>
              <a:custGeom>
                <a:avLst/>
                <a:gdLst>
                  <a:gd name="connsiteX0" fmla="*/ 83099 w 159403"/>
                  <a:gd name="connsiteY0" fmla="*/ 159089 h 159090"/>
                  <a:gd name="connsiteX1" fmla="*/ 0 w 159403"/>
                  <a:gd name="connsiteY1" fmla="*/ 84272 h 159090"/>
                  <a:gd name="connsiteX2" fmla="*/ 74570 w 159403"/>
                  <a:gd name="connsiteY2" fmla="*/ 1 h 159090"/>
                  <a:gd name="connsiteX3" fmla="*/ 159397 w 159403"/>
                  <a:gd name="connsiteY3" fmla="*/ 77124 h 159090"/>
                  <a:gd name="connsiteX4" fmla="*/ 83099 w 159403"/>
                  <a:gd name="connsiteY4" fmla="*/ 159089 h 159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403" h="159090">
                    <a:moveTo>
                      <a:pt x="83099" y="159089"/>
                    </a:moveTo>
                    <a:cubicBezTo>
                      <a:pt x="37804" y="159320"/>
                      <a:pt x="-115" y="125196"/>
                      <a:pt x="0" y="84272"/>
                    </a:cubicBezTo>
                    <a:cubicBezTo>
                      <a:pt x="0" y="39312"/>
                      <a:pt x="35153" y="-230"/>
                      <a:pt x="74570" y="1"/>
                    </a:cubicBezTo>
                    <a:cubicBezTo>
                      <a:pt x="121709" y="347"/>
                      <a:pt x="159974" y="35162"/>
                      <a:pt x="159397" y="77124"/>
                    </a:cubicBezTo>
                    <a:cubicBezTo>
                      <a:pt x="158821" y="121277"/>
                      <a:pt x="123899" y="158859"/>
                      <a:pt x="83099" y="15908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79" name="Freeform 278">
                <a:extLst>
                  <a:ext uri="{FF2B5EF4-FFF2-40B4-BE49-F238E27FC236}">
                    <a16:creationId xmlns:a16="http://schemas.microsoft.com/office/drawing/2014/main" id="{D3EE6BE9-DAD2-847D-2B98-57964068B2FD}"/>
                  </a:ext>
                </a:extLst>
              </p:cNvPr>
              <p:cNvSpPr/>
              <p:nvPr/>
            </p:nvSpPr>
            <p:spPr>
              <a:xfrm>
                <a:off x="5651635" y="6004458"/>
                <a:ext cx="171031" cy="160605"/>
              </a:xfrm>
              <a:custGeom>
                <a:avLst/>
                <a:gdLst>
                  <a:gd name="connsiteX0" fmla="*/ 18797 w 171031"/>
                  <a:gd name="connsiteY0" fmla="*/ 33086 h 160605"/>
                  <a:gd name="connsiteX1" fmla="*/ 136472 w 171031"/>
                  <a:gd name="connsiteY1" fmla="*/ 0 h 160605"/>
                  <a:gd name="connsiteX2" fmla="*/ 146730 w 171031"/>
                  <a:gd name="connsiteY2" fmla="*/ 12796 h 160605"/>
                  <a:gd name="connsiteX3" fmla="*/ 123333 w 171031"/>
                  <a:gd name="connsiteY3" fmla="*/ 152632 h 160605"/>
                  <a:gd name="connsiteX4" fmla="*/ 17183 w 171031"/>
                  <a:gd name="connsiteY4" fmla="*/ 125195 h 160605"/>
                  <a:gd name="connsiteX5" fmla="*/ 18797 w 171031"/>
                  <a:gd name="connsiteY5" fmla="*/ 32970 h 160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1031" h="160605">
                    <a:moveTo>
                      <a:pt x="18797" y="33086"/>
                    </a:moveTo>
                    <a:cubicBezTo>
                      <a:pt x="64438" y="44729"/>
                      <a:pt x="104085" y="35391"/>
                      <a:pt x="136472" y="0"/>
                    </a:cubicBezTo>
                    <a:cubicBezTo>
                      <a:pt x="139930" y="4265"/>
                      <a:pt x="143041" y="8876"/>
                      <a:pt x="146730" y="12796"/>
                    </a:cubicBezTo>
                    <a:cubicBezTo>
                      <a:pt x="187069" y="56603"/>
                      <a:pt x="175774" y="123927"/>
                      <a:pt x="123333" y="152632"/>
                    </a:cubicBezTo>
                    <a:cubicBezTo>
                      <a:pt x="91407" y="170155"/>
                      <a:pt x="43922" y="157820"/>
                      <a:pt x="17183" y="125195"/>
                    </a:cubicBezTo>
                    <a:cubicBezTo>
                      <a:pt x="-6329" y="96606"/>
                      <a:pt x="-5637" y="62482"/>
                      <a:pt x="18797" y="3297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F721D906-1102-04D1-E641-0659F1606283}"/>
                  </a:ext>
                </a:extLst>
              </p:cNvPr>
              <p:cNvSpPr/>
              <p:nvPr/>
            </p:nvSpPr>
            <p:spPr>
              <a:xfrm>
                <a:off x="8614957" y="3258"/>
                <a:ext cx="3918" cy="5418"/>
              </a:xfrm>
              <a:custGeom>
                <a:avLst/>
                <a:gdLst>
                  <a:gd name="connsiteX0" fmla="*/ 0 w 3918"/>
                  <a:gd name="connsiteY0" fmla="*/ 0 h 5418"/>
                  <a:gd name="connsiteX1" fmla="*/ 3918 w 3918"/>
                  <a:gd name="connsiteY1" fmla="*/ 5418 h 5418"/>
                  <a:gd name="connsiteX2" fmla="*/ 0 w 3918"/>
                  <a:gd name="connsiteY2" fmla="*/ 0 h 5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18" h="5418">
                    <a:moveTo>
                      <a:pt x="0" y="0"/>
                    </a:moveTo>
                    <a:cubicBezTo>
                      <a:pt x="1268" y="1845"/>
                      <a:pt x="2651" y="3574"/>
                      <a:pt x="3918" y="5418"/>
                    </a:cubicBezTo>
                    <a:cubicBezTo>
                      <a:pt x="2651" y="3574"/>
                      <a:pt x="1268" y="1845"/>
                      <a:pt x="0" y="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1" name="Freeform 280">
                <a:extLst>
                  <a:ext uri="{FF2B5EF4-FFF2-40B4-BE49-F238E27FC236}">
                    <a16:creationId xmlns:a16="http://schemas.microsoft.com/office/drawing/2014/main" id="{EBBA0EF5-BE05-4981-B85E-12E063F823EE}"/>
                  </a:ext>
                </a:extLst>
              </p:cNvPr>
              <p:cNvSpPr/>
              <p:nvPr/>
            </p:nvSpPr>
            <p:spPr>
              <a:xfrm>
                <a:off x="9775366" y="1305959"/>
                <a:ext cx="409865" cy="417066"/>
              </a:xfrm>
              <a:custGeom>
                <a:avLst/>
                <a:gdLst>
                  <a:gd name="connsiteX0" fmla="*/ 402444 w 409865"/>
                  <a:gd name="connsiteY0" fmla="*/ 151804 h 417066"/>
                  <a:gd name="connsiteX1" fmla="*/ 278545 w 409865"/>
                  <a:gd name="connsiteY1" fmla="*/ 10700 h 417066"/>
                  <a:gd name="connsiteX2" fmla="*/ 185765 w 409865"/>
                  <a:gd name="connsiteY2" fmla="*/ 785 h 417066"/>
                  <a:gd name="connsiteX3" fmla="*/ 11039 w 409865"/>
                  <a:gd name="connsiteY3" fmla="*/ 131860 h 417066"/>
                  <a:gd name="connsiteX4" fmla="*/ 2049 w 409865"/>
                  <a:gd name="connsiteY4" fmla="*/ 238495 h 417066"/>
                  <a:gd name="connsiteX5" fmla="*/ 148653 w 409865"/>
                  <a:gd name="connsiteY5" fmla="*/ 410149 h 417066"/>
                  <a:gd name="connsiteX6" fmla="*/ 203169 w 409865"/>
                  <a:gd name="connsiteY6" fmla="*/ 417066 h 417066"/>
                  <a:gd name="connsiteX7" fmla="*/ 203399 w 409865"/>
                  <a:gd name="connsiteY7" fmla="*/ 415106 h 417066"/>
                  <a:gd name="connsiteX8" fmla="*/ 228294 w 409865"/>
                  <a:gd name="connsiteY8" fmla="*/ 414991 h 417066"/>
                  <a:gd name="connsiteX9" fmla="*/ 382390 w 409865"/>
                  <a:gd name="connsiteY9" fmla="*/ 317809 h 417066"/>
                  <a:gd name="connsiteX10" fmla="*/ 402328 w 409865"/>
                  <a:gd name="connsiteY10" fmla="*/ 151804 h 417066"/>
                  <a:gd name="connsiteX11" fmla="*/ 203860 w 409865"/>
                  <a:gd name="connsiteY11" fmla="*/ 260860 h 417066"/>
                  <a:gd name="connsiteX12" fmla="*/ 151765 w 409865"/>
                  <a:gd name="connsiteY12" fmla="*/ 207139 h 417066"/>
                  <a:gd name="connsiteX13" fmla="*/ 209161 w 409865"/>
                  <a:gd name="connsiteY13" fmla="*/ 151458 h 417066"/>
                  <a:gd name="connsiteX14" fmla="*/ 255840 w 409865"/>
                  <a:gd name="connsiteY14" fmla="*/ 208176 h 417066"/>
                  <a:gd name="connsiteX15" fmla="*/ 203745 w 409865"/>
                  <a:gd name="connsiteY15" fmla="*/ 260745 h 417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09865" h="417066">
                    <a:moveTo>
                      <a:pt x="402444" y="151804"/>
                    </a:moveTo>
                    <a:cubicBezTo>
                      <a:pt x="385156" y="84595"/>
                      <a:pt x="346199" y="34793"/>
                      <a:pt x="278545" y="10700"/>
                    </a:cubicBezTo>
                    <a:cubicBezTo>
                      <a:pt x="248233" y="-22"/>
                      <a:pt x="217229" y="-1174"/>
                      <a:pt x="185765" y="785"/>
                    </a:cubicBezTo>
                    <a:cubicBezTo>
                      <a:pt x="104049" y="5742"/>
                      <a:pt x="36741" y="56466"/>
                      <a:pt x="11039" y="131860"/>
                    </a:cubicBezTo>
                    <a:cubicBezTo>
                      <a:pt x="-832" y="166675"/>
                      <a:pt x="-1870" y="202874"/>
                      <a:pt x="2049" y="238495"/>
                    </a:cubicBezTo>
                    <a:cubicBezTo>
                      <a:pt x="11500" y="324495"/>
                      <a:pt x="54721" y="388015"/>
                      <a:pt x="148653" y="410149"/>
                    </a:cubicBezTo>
                    <a:cubicBezTo>
                      <a:pt x="166402" y="414299"/>
                      <a:pt x="184958" y="414876"/>
                      <a:pt x="203169" y="417066"/>
                    </a:cubicBezTo>
                    <a:cubicBezTo>
                      <a:pt x="203169" y="416374"/>
                      <a:pt x="203284" y="415798"/>
                      <a:pt x="203399" y="415106"/>
                    </a:cubicBezTo>
                    <a:cubicBezTo>
                      <a:pt x="211697" y="415106"/>
                      <a:pt x="220111" y="415798"/>
                      <a:pt x="228294" y="414991"/>
                    </a:cubicBezTo>
                    <a:cubicBezTo>
                      <a:pt x="295602" y="407959"/>
                      <a:pt x="350003" y="380061"/>
                      <a:pt x="382390" y="317809"/>
                    </a:cubicBezTo>
                    <a:cubicBezTo>
                      <a:pt x="409820" y="265125"/>
                      <a:pt x="417197" y="209099"/>
                      <a:pt x="402328" y="151804"/>
                    </a:cubicBezTo>
                    <a:close/>
                    <a:moveTo>
                      <a:pt x="203860" y="260860"/>
                    </a:moveTo>
                    <a:cubicBezTo>
                      <a:pt x="165480" y="260629"/>
                      <a:pt x="150843" y="245873"/>
                      <a:pt x="151765" y="207139"/>
                    </a:cubicBezTo>
                    <a:cubicBezTo>
                      <a:pt x="152687" y="168981"/>
                      <a:pt x="171474" y="153648"/>
                      <a:pt x="209161" y="151458"/>
                    </a:cubicBezTo>
                    <a:cubicBezTo>
                      <a:pt x="236362" y="149959"/>
                      <a:pt x="255840" y="175206"/>
                      <a:pt x="255840" y="208176"/>
                    </a:cubicBezTo>
                    <a:cubicBezTo>
                      <a:pt x="255840" y="248294"/>
                      <a:pt x="243162" y="261090"/>
                      <a:pt x="203745" y="26074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2" name="Freeform 281">
                <a:extLst>
                  <a:ext uri="{FF2B5EF4-FFF2-40B4-BE49-F238E27FC236}">
                    <a16:creationId xmlns:a16="http://schemas.microsoft.com/office/drawing/2014/main" id="{7A229D6D-6F64-E097-A4FF-13753AD0D6CA}"/>
                  </a:ext>
                </a:extLst>
              </p:cNvPr>
              <p:cNvSpPr/>
              <p:nvPr/>
            </p:nvSpPr>
            <p:spPr>
              <a:xfrm>
                <a:off x="7944664" y="4057768"/>
                <a:ext cx="383986" cy="384385"/>
              </a:xfrm>
              <a:custGeom>
                <a:avLst/>
                <a:gdLst>
                  <a:gd name="connsiteX0" fmla="*/ 197288 w 383986"/>
                  <a:gd name="connsiteY0" fmla="*/ 49 h 384385"/>
                  <a:gd name="connsiteX1" fmla="*/ 88 w 383986"/>
                  <a:gd name="connsiteY1" fmla="*/ 190955 h 384385"/>
                  <a:gd name="connsiteX2" fmla="*/ 185763 w 383986"/>
                  <a:gd name="connsiteY2" fmla="*/ 384282 h 384385"/>
                  <a:gd name="connsiteX3" fmla="*/ 383655 w 383986"/>
                  <a:gd name="connsiteY3" fmla="*/ 187727 h 384385"/>
                  <a:gd name="connsiteX4" fmla="*/ 197288 w 383986"/>
                  <a:gd name="connsiteY4" fmla="*/ 49 h 384385"/>
                  <a:gd name="connsiteX5" fmla="*/ 191180 w 383986"/>
                  <a:gd name="connsiteY5" fmla="*/ 244215 h 384385"/>
                  <a:gd name="connsiteX6" fmla="*/ 140583 w 383986"/>
                  <a:gd name="connsiteY6" fmla="*/ 193837 h 384385"/>
                  <a:gd name="connsiteX7" fmla="*/ 196482 w 383986"/>
                  <a:gd name="connsiteY7" fmla="*/ 141038 h 384385"/>
                  <a:gd name="connsiteX8" fmla="*/ 244312 w 383986"/>
                  <a:gd name="connsiteY8" fmla="*/ 186344 h 384385"/>
                  <a:gd name="connsiteX9" fmla="*/ 191180 w 383986"/>
                  <a:gd name="connsiteY9" fmla="*/ 244215 h 384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3986" h="384385">
                    <a:moveTo>
                      <a:pt x="197288" y="49"/>
                    </a:moveTo>
                    <a:cubicBezTo>
                      <a:pt x="96095" y="-2718"/>
                      <a:pt x="-3370" y="111642"/>
                      <a:pt x="88" y="190955"/>
                    </a:cubicBezTo>
                    <a:cubicBezTo>
                      <a:pt x="4467" y="292403"/>
                      <a:pt x="87681" y="380593"/>
                      <a:pt x="185763" y="384282"/>
                    </a:cubicBezTo>
                    <a:cubicBezTo>
                      <a:pt x="283499" y="387971"/>
                      <a:pt x="387804" y="292403"/>
                      <a:pt x="383655" y="187727"/>
                    </a:cubicBezTo>
                    <a:cubicBezTo>
                      <a:pt x="390570" y="88355"/>
                      <a:pt x="288109" y="2470"/>
                      <a:pt x="197288" y="49"/>
                    </a:cubicBezTo>
                    <a:close/>
                    <a:moveTo>
                      <a:pt x="191180" y="244215"/>
                    </a:moveTo>
                    <a:cubicBezTo>
                      <a:pt x="169858" y="244330"/>
                      <a:pt x="140698" y="215279"/>
                      <a:pt x="140583" y="193837"/>
                    </a:cubicBezTo>
                    <a:cubicBezTo>
                      <a:pt x="140583" y="173202"/>
                      <a:pt x="175275" y="140346"/>
                      <a:pt x="196482" y="141038"/>
                    </a:cubicBezTo>
                    <a:cubicBezTo>
                      <a:pt x="219417" y="141730"/>
                      <a:pt x="243966" y="165017"/>
                      <a:pt x="244312" y="186344"/>
                    </a:cubicBezTo>
                    <a:cubicBezTo>
                      <a:pt x="244773" y="212051"/>
                      <a:pt x="215268" y="244100"/>
                      <a:pt x="191180" y="24421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3" name="Freeform 282">
                <a:extLst>
                  <a:ext uri="{FF2B5EF4-FFF2-40B4-BE49-F238E27FC236}">
                    <a16:creationId xmlns:a16="http://schemas.microsoft.com/office/drawing/2014/main" id="{AAB5B099-3889-633F-D7C1-1C10FBE2D224}"/>
                  </a:ext>
                </a:extLst>
              </p:cNvPr>
              <p:cNvSpPr/>
              <p:nvPr/>
            </p:nvSpPr>
            <p:spPr>
              <a:xfrm>
                <a:off x="9685066" y="2743432"/>
                <a:ext cx="371647" cy="377638"/>
              </a:xfrm>
              <a:custGeom>
                <a:avLst/>
                <a:gdLst>
                  <a:gd name="connsiteX0" fmla="*/ 187550 w 371647"/>
                  <a:gd name="connsiteY0" fmla="*/ 179 h 377638"/>
                  <a:gd name="connsiteX1" fmla="*/ 170031 w 371647"/>
                  <a:gd name="connsiteY1" fmla="*/ 179 h 377638"/>
                  <a:gd name="connsiteX2" fmla="*/ 6600 w 371647"/>
                  <a:gd name="connsiteY2" fmla="*/ 135058 h 377638"/>
                  <a:gd name="connsiteX3" fmla="*/ 4180 w 371647"/>
                  <a:gd name="connsiteY3" fmla="*/ 236160 h 377638"/>
                  <a:gd name="connsiteX4" fmla="*/ 101454 w 371647"/>
                  <a:gd name="connsiteY4" fmla="*/ 361009 h 377638"/>
                  <a:gd name="connsiteX5" fmla="*/ 234228 w 371647"/>
                  <a:gd name="connsiteY5" fmla="*/ 372307 h 377638"/>
                  <a:gd name="connsiteX6" fmla="*/ 363429 w 371647"/>
                  <a:gd name="connsiteY6" fmla="*/ 247688 h 377638"/>
                  <a:gd name="connsiteX7" fmla="*/ 368038 w 371647"/>
                  <a:gd name="connsiteY7" fmla="*/ 146932 h 377638"/>
                  <a:gd name="connsiteX8" fmla="*/ 187435 w 371647"/>
                  <a:gd name="connsiteY8" fmla="*/ 179 h 377638"/>
                  <a:gd name="connsiteX9" fmla="*/ 186859 w 371647"/>
                  <a:gd name="connsiteY9" fmla="*/ 238004 h 377638"/>
                  <a:gd name="connsiteX10" fmla="*/ 137875 w 371647"/>
                  <a:gd name="connsiteY10" fmla="*/ 188548 h 377638"/>
                  <a:gd name="connsiteX11" fmla="*/ 187435 w 371647"/>
                  <a:gd name="connsiteY11" fmla="*/ 138632 h 377638"/>
                  <a:gd name="connsiteX12" fmla="*/ 233306 w 371647"/>
                  <a:gd name="connsiteY12" fmla="*/ 191776 h 377638"/>
                  <a:gd name="connsiteX13" fmla="*/ 186859 w 371647"/>
                  <a:gd name="connsiteY13" fmla="*/ 237889 h 37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1647" h="377638">
                    <a:moveTo>
                      <a:pt x="187550" y="179"/>
                    </a:moveTo>
                    <a:cubicBezTo>
                      <a:pt x="184784" y="179"/>
                      <a:pt x="177408" y="-52"/>
                      <a:pt x="170031" y="179"/>
                    </a:cubicBezTo>
                    <a:cubicBezTo>
                      <a:pt x="87278" y="3637"/>
                      <a:pt x="25502" y="54592"/>
                      <a:pt x="6600" y="135058"/>
                    </a:cubicBezTo>
                    <a:cubicBezTo>
                      <a:pt x="-1237" y="168605"/>
                      <a:pt x="-2159" y="202152"/>
                      <a:pt x="4180" y="236160"/>
                    </a:cubicBezTo>
                    <a:cubicBezTo>
                      <a:pt x="15014" y="294722"/>
                      <a:pt x="46479" y="337607"/>
                      <a:pt x="101454" y="361009"/>
                    </a:cubicBezTo>
                    <a:cubicBezTo>
                      <a:pt x="144099" y="379224"/>
                      <a:pt x="189164" y="381645"/>
                      <a:pt x="234228" y="372307"/>
                    </a:cubicBezTo>
                    <a:cubicBezTo>
                      <a:pt x="303035" y="358127"/>
                      <a:pt x="345679" y="315473"/>
                      <a:pt x="363429" y="247688"/>
                    </a:cubicBezTo>
                    <a:cubicBezTo>
                      <a:pt x="372073" y="214371"/>
                      <a:pt x="374377" y="181286"/>
                      <a:pt x="368038" y="146932"/>
                    </a:cubicBezTo>
                    <a:cubicBezTo>
                      <a:pt x="351673" y="57128"/>
                      <a:pt x="278832" y="-3741"/>
                      <a:pt x="187435" y="179"/>
                    </a:cubicBezTo>
                    <a:close/>
                    <a:moveTo>
                      <a:pt x="186859" y="238004"/>
                    </a:moveTo>
                    <a:cubicBezTo>
                      <a:pt x="152974" y="237658"/>
                      <a:pt x="137529" y="222095"/>
                      <a:pt x="137875" y="188548"/>
                    </a:cubicBezTo>
                    <a:cubicBezTo>
                      <a:pt x="138221" y="156039"/>
                      <a:pt x="155855" y="138286"/>
                      <a:pt x="187435" y="138632"/>
                    </a:cubicBezTo>
                    <a:cubicBezTo>
                      <a:pt x="217631" y="139093"/>
                      <a:pt x="234574" y="158691"/>
                      <a:pt x="233306" y="191776"/>
                    </a:cubicBezTo>
                    <a:cubicBezTo>
                      <a:pt x="232154" y="222095"/>
                      <a:pt x="215788" y="238235"/>
                      <a:pt x="186859" y="23788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284" name="Freeform 283">
                <a:extLst>
                  <a:ext uri="{FF2B5EF4-FFF2-40B4-BE49-F238E27FC236}">
                    <a16:creationId xmlns:a16="http://schemas.microsoft.com/office/drawing/2014/main" id="{327FBB5F-14C1-03F0-F50F-EDC87BAAFD48}"/>
                  </a:ext>
                </a:extLst>
              </p:cNvPr>
              <p:cNvSpPr/>
              <p:nvPr/>
            </p:nvSpPr>
            <p:spPr>
              <a:xfrm>
                <a:off x="5160891" y="5754758"/>
                <a:ext cx="39838" cy="48187"/>
              </a:xfrm>
              <a:custGeom>
                <a:avLst/>
                <a:gdLst>
                  <a:gd name="connsiteX0" fmla="*/ 25933 w 39838"/>
                  <a:gd name="connsiteY0" fmla="*/ 346 h 48187"/>
                  <a:gd name="connsiteX1" fmla="*/ 39648 w 39838"/>
                  <a:gd name="connsiteY1" fmla="*/ 24786 h 48187"/>
                  <a:gd name="connsiteX2" fmla="*/ 17981 w 39838"/>
                  <a:gd name="connsiteY2" fmla="*/ 48188 h 48187"/>
                  <a:gd name="connsiteX3" fmla="*/ 1 w 39838"/>
                  <a:gd name="connsiteY3" fmla="*/ 25823 h 48187"/>
                  <a:gd name="connsiteX4" fmla="*/ 16482 w 39838"/>
                  <a:gd name="connsiteY4" fmla="*/ 0 h 48187"/>
                  <a:gd name="connsiteX5" fmla="*/ 25933 w 39838"/>
                  <a:gd name="connsiteY5" fmla="*/ 461 h 48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38" h="48187">
                    <a:moveTo>
                      <a:pt x="25933" y="346"/>
                    </a:moveTo>
                    <a:cubicBezTo>
                      <a:pt x="30889" y="8646"/>
                      <a:pt x="41377" y="18330"/>
                      <a:pt x="39648" y="24786"/>
                    </a:cubicBezTo>
                    <a:cubicBezTo>
                      <a:pt x="37113" y="33893"/>
                      <a:pt x="25703" y="40464"/>
                      <a:pt x="17981" y="48188"/>
                    </a:cubicBezTo>
                    <a:cubicBezTo>
                      <a:pt x="11526" y="40694"/>
                      <a:pt x="-114" y="33201"/>
                      <a:pt x="1" y="25823"/>
                    </a:cubicBezTo>
                    <a:cubicBezTo>
                      <a:pt x="231" y="17062"/>
                      <a:pt x="10489" y="8531"/>
                      <a:pt x="16482" y="0"/>
                    </a:cubicBezTo>
                    <a:cubicBezTo>
                      <a:pt x="19594" y="115"/>
                      <a:pt x="22821" y="346"/>
                      <a:pt x="25933" y="461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  <p:grpSp>
          <p:nvGrpSpPr>
            <p:cNvPr id="306" name="Group 305">
              <a:extLst>
                <a:ext uri="{FF2B5EF4-FFF2-40B4-BE49-F238E27FC236}">
                  <a16:creationId xmlns:a16="http://schemas.microsoft.com/office/drawing/2014/main" id="{46C89F7A-3B63-A0E9-6E53-EEADE03C642D}"/>
                </a:ext>
              </a:extLst>
            </p:cNvPr>
            <p:cNvGrpSpPr/>
            <p:nvPr userDrawn="1"/>
          </p:nvGrpSpPr>
          <p:grpSpPr>
            <a:xfrm>
              <a:off x="5091277" y="2682"/>
              <a:ext cx="6544387" cy="5993875"/>
              <a:chOff x="5091277" y="2682"/>
              <a:chExt cx="6544387" cy="5993875"/>
            </a:xfrm>
            <a:solidFill>
              <a:srgbClr val="E27628"/>
            </a:solidFill>
          </p:grpSpPr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859EFD1E-5346-56EB-2405-179EA9DDC0DD}"/>
                  </a:ext>
                </a:extLst>
              </p:cNvPr>
              <p:cNvSpPr/>
              <p:nvPr/>
            </p:nvSpPr>
            <p:spPr>
              <a:xfrm>
                <a:off x="7397969" y="198891"/>
                <a:ext cx="626781" cy="658513"/>
              </a:xfrm>
              <a:custGeom>
                <a:avLst/>
                <a:gdLst>
                  <a:gd name="connsiteX0" fmla="*/ 476362 w 626781"/>
                  <a:gd name="connsiteY0" fmla="*/ 231 h 658513"/>
                  <a:gd name="connsiteX1" fmla="*/ 546898 w 626781"/>
                  <a:gd name="connsiteY1" fmla="*/ 4957 h 658513"/>
                  <a:gd name="connsiteX2" fmla="*/ 625386 w 626781"/>
                  <a:gd name="connsiteY2" fmla="*/ 96952 h 658513"/>
                  <a:gd name="connsiteX3" fmla="*/ 613285 w 626781"/>
                  <a:gd name="connsiteY3" fmla="*/ 283707 h 658513"/>
                  <a:gd name="connsiteX4" fmla="*/ 551162 w 626781"/>
                  <a:gd name="connsiteY4" fmla="*/ 520841 h 658513"/>
                  <a:gd name="connsiteX5" fmla="*/ 515318 w 626781"/>
                  <a:gd name="connsiteY5" fmla="*/ 598425 h 658513"/>
                  <a:gd name="connsiteX6" fmla="*/ 431643 w 626781"/>
                  <a:gd name="connsiteY6" fmla="*/ 653645 h 658513"/>
                  <a:gd name="connsiteX7" fmla="*/ 114232 w 626781"/>
                  <a:gd name="connsiteY7" fmla="*/ 548278 h 658513"/>
                  <a:gd name="connsiteX8" fmla="*/ 26869 w 626781"/>
                  <a:gd name="connsiteY8" fmla="*/ 379621 h 658513"/>
                  <a:gd name="connsiteX9" fmla="*/ 2665 w 626781"/>
                  <a:gd name="connsiteY9" fmla="*/ 227104 h 658513"/>
                  <a:gd name="connsiteX10" fmla="*/ 245 w 626781"/>
                  <a:gd name="connsiteY10" fmla="*/ 131075 h 658513"/>
                  <a:gd name="connsiteX11" fmla="*/ 85764 w 626781"/>
                  <a:gd name="connsiteY11" fmla="*/ 35852 h 658513"/>
                  <a:gd name="connsiteX12" fmla="*/ 205859 w 626781"/>
                  <a:gd name="connsiteY12" fmla="*/ 19252 h 658513"/>
                  <a:gd name="connsiteX13" fmla="*/ 338056 w 626781"/>
                  <a:gd name="connsiteY13" fmla="*/ 12681 h 658513"/>
                  <a:gd name="connsiteX14" fmla="*/ 403982 w 626781"/>
                  <a:gd name="connsiteY14" fmla="*/ 6456 h 658513"/>
                  <a:gd name="connsiteX15" fmla="*/ 476362 w 626781"/>
                  <a:gd name="connsiteY15" fmla="*/ 0 h 65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26781" h="658513">
                    <a:moveTo>
                      <a:pt x="476362" y="231"/>
                    </a:moveTo>
                    <a:cubicBezTo>
                      <a:pt x="502986" y="1844"/>
                      <a:pt x="525691" y="231"/>
                      <a:pt x="546898" y="4957"/>
                    </a:cubicBezTo>
                    <a:cubicBezTo>
                      <a:pt x="605447" y="17869"/>
                      <a:pt x="621122" y="32279"/>
                      <a:pt x="625386" y="96952"/>
                    </a:cubicBezTo>
                    <a:cubicBezTo>
                      <a:pt x="629536" y="159549"/>
                      <a:pt x="624119" y="221917"/>
                      <a:pt x="613285" y="283707"/>
                    </a:cubicBezTo>
                    <a:cubicBezTo>
                      <a:pt x="599223" y="364520"/>
                      <a:pt x="581128" y="444294"/>
                      <a:pt x="551162" y="520841"/>
                    </a:cubicBezTo>
                    <a:cubicBezTo>
                      <a:pt x="540789" y="547356"/>
                      <a:pt x="527304" y="572602"/>
                      <a:pt x="515318" y="598425"/>
                    </a:cubicBezTo>
                    <a:cubicBezTo>
                      <a:pt x="498721" y="634047"/>
                      <a:pt x="467718" y="647996"/>
                      <a:pt x="431643" y="653645"/>
                    </a:cubicBezTo>
                    <a:cubicBezTo>
                      <a:pt x="307744" y="673128"/>
                      <a:pt x="202517" y="633356"/>
                      <a:pt x="114232" y="548278"/>
                    </a:cubicBezTo>
                    <a:cubicBezTo>
                      <a:pt x="66977" y="502742"/>
                      <a:pt x="36896" y="445908"/>
                      <a:pt x="26869" y="379621"/>
                    </a:cubicBezTo>
                    <a:cubicBezTo>
                      <a:pt x="19262" y="328667"/>
                      <a:pt x="8889" y="278174"/>
                      <a:pt x="2665" y="227104"/>
                    </a:cubicBezTo>
                    <a:cubicBezTo>
                      <a:pt x="-1138" y="195402"/>
                      <a:pt x="245" y="163123"/>
                      <a:pt x="245" y="131075"/>
                    </a:cubicBezTo>
                    <a:cubicBezTo>
                      <a:pt x="245" y="73319"/>
                      <a:pt x="32171" y="48188"/>
                      <a:pt x="85764" y="35852"/>
                    </a:cubicBezTo>
                    <a:cubicBezTo>
                      <a:pt x="124951" y="26861"/>
                      <a:pt x="165636" y="22710"/>
                      <a:pt x="205859" y="19252"/>
                    </a:cubicBezTo>
                    <a:cubicBezTo>
                      <a:pt x="249771" y="15448"/>
                      <a:pt x="294029" y="15217"/>
                      <a:pt x="338056" y="12681"/>
                    </a:cubicBezTo>
                    <a:cubicBezTo>
                      <a:pt x="360070" y="11413"/>
                      <a:pt x="381968" y="8531"/>
                      <a:pt x="403982" y="6456"/>
                    </a:cubicBezTo>
                    <a:cubicBezTo>
                      <a:pt x="429569" y="4150"/>
                      <a:pt x="455155" y="1960"/>
                      <a:pt x="476362" y="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08" name="Freeform 307">
                <a:extLst>
                  <a:ext uri="{FF2B5EF4-FFF2-40B4-BE49-F238E27FC236}">
                    <a16:creationId xmlns:a16="http://schemas.microsoft.com/office/drawing/2014/main" id="{C7E17CA8-25FC-9BB6-2379-B453C4CE948E}"/>
                  </a:ext>
                </a:extLst>
              </p:cNvPr>
              <p:cNvSpPr/>
              <p:nvPr/>
            </p:nvSpPr>
            <p:spPr>
              <a:xfrm>
                <a:off x="8827726" y="2036186"/>
                <a:ext cx="462507" cy="558643"/>
              </a:xfrm>
              <a:custGeom>
                <a:avLst/>
                <a:gdLst>
                  <a:gd name="connsiteX0" fmla="*/ 462392 w 462507"/>
                  <a:gd name="connsiteY0" fmla="*/ 196036 h 558643"/>
                  <a:gd name="connsiteX1" fmla="*/ 418135 w 462507"/>
                  <a:gd name="connsiteY1" fmla="*/ 322846 h 558643"/>
                  <a:gd name="connsiteX2" fmla="*/ 347945 w 462507"/>
                  <a:gd name="connsiteY2" fmla="*/ 414840 h 558643"/>
                  <a:gd name="connsiteX3" fmla="*/ 236263 w 462507"/>
                  <a:gd name="connsiteY3" fmla="*/ 533349 h 558643"/>
                  <a:gd name="connsiteX4" fmla="*/ 147632 w 462507"/>
                  <a:gd name="connsiteY4" fmla="*/ 543033 h 558643"/>
                  <a:gd name="connsiteX5" fmla="*/ 70642 w 462507"/>
                  <a:gd name="connsiteY5" fmla="*/ 472366 h 558643"/>
                  <a:gd name="connsiteX6" fmla="*/ 40561 w 462507"/>
                  <a:gd name="connsiteY6" fmla="*/ 436398 h 558643"/>
                  <a:gd name="connsiteX7" fmla="*/ 26961 w 462507"/>
                  <a:gd name="connsiteY7" fmla="*/ 235232 h 558643"/>
                  <a:gd name="connsiteX8" fmla="*/ 119971 w 462507"/>
                  <a:gd name="connsiteY8" fmla="*/ 108768 h 558643"/>
                  <a:gd name="connsiteX9" fmla="*/ 196039 w 462507"/>
                  <a:gd name="connsiteY9" fmla="*/ 33259 h 558643"/>
                  <a:gd name="connsiteX10" fmla="*/ 238683 w 462507"/>
                  <a:gd name="connsiteY10" fmla="*/ 8358 h 558643"/>
                  <a:gd name="connsiteX11" fmla="*/ 363158 w 462507"/>
                  <a:gd name="connsiteY11" fmla="*/ 37179 h 558643"/>
                  <a:gd name="connsiteX12" fmla="*/ 435077 w 462507"/>
                  <a:gd name="connsiteY12" fmla="*/ 116953 h 558643"/>
                  <a:gd name="connsiteX13" fmla="*/ 462508 w 462507"/>
                  <a:gd name="connsiteY13" fmla="*/ 196036 h 558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62507" h="558643">
                    <a:moveTo>
                      <a:pt x="462392" y="196036"/>
                    </a:moveTo>
                    <a:cubicBezTo>
                      <a:pt x="460433" y="245261"/>
                      <a:pt x="443030" y="285840"/>
                      <a:pt x="418135" y="322846"/>
                    </a:cubicBezTo>
                    <a:cubicBezTo>
                      <a:pt x="396698" y="354894"/>
                      <a:pt x="373301" y="385905"/>
                      <a:pt x="347945" y="414840"/>
                    </a:cubicBezTo>
                    <a:cubicBezTo>
                      <a:pt x="312101" y="455650"/>
                      <a:pt x="274067" y="494384"/>
                      <a:pt x="236263" y="533349"/>
                    </a:cubicBezTo>
                    <a:cubicBezTo>
                      <a:pt x="207565" y="562746"/>
                      <a:pt x="180825" y="567242"/>
                      <a:pt x="147632" y="543033"/>
                    </a:cubicBezTo>
                    <a:cubicBezTo>
                      <a:pt x="119625" y="522628"/>
                      <a:pt x="95537" y="496690"/>
                      <a:pt x="70642" y="472366"/>
                    </a:cubicBezTo>
                    <a:cubicBezTo>
                      <a:pt x="59463" y="461529"/>
                      <a:pt x="49896" y="448848"/>
                      <a:pt x="40561" y="436398"/>
                    </a:cubicBezTo>
                    <a:cubicBezTo>
                      <a:pt x="-7846" y="372301"/>
                      <a:pt x="-13609" y="303478"/>
                      <a:pt x="26961" y="235232"/>
                    </a:cubicBezTo>
                    <a:cubicBezTo>
                      <a:pt x="53585" y="190388"/>
                      <a:pt x="86778" y="149232"/>
                      <a:pt x="119971" y="108768"/>
                    </a:cubicBezTo>
                    <a:cubicBezTo>
                      <a:pt x="142561" y="81331"/>
                      <a:pt x="169415" y="57007"/>
                      <a:pt x="196039" y="33259"/>
                    </a:cubicBezTo>
                    <a:cubicBezTo>
                      <a:pt x="208141" y="22538"/>
                      <a:pt x="223585" y="14468"/>
                      <a:pt x="238683" y="8358"/>
                    </a:cubicBezTo>
                    <a:cubicBezTo>
                      <a:pt x="286399" y="-10778"/>
                      <a:pt x="328121" y="4669"/>
                      <a:pt x="363158" y="37179"/>
                    </a:cubicBezTo>
                    <a:cubicBezTo>
                      <a:pt x="389321" y="61503"/>
                      <a:pt x="412257" y="89401"/>
                      <a:pt x="435077" y="116953"/>
                    </a:cubicBezTo>
                    <a:cubicBezTo>
                      <a:pt x="454555" y="140471"/>
                      <a:pt x="459742" y="169867"/>
                      <a:pt x="462508" y="19603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09" name="Freeform 308">
                <a:extLst>
                  <a:ext uri="{FF2B5EF4-FFF2-40B4-BE49-F238E27FC236}">
                    <a16:creationId xmlns:a16="http://schemas.microsoft.com/office/drawing/2014/main" id="{5B02D415-0289-5F17-A406-4CA7623F1694}"/>
                  </a:ext>
                </a:extLst>
              </p:cNvPr>
              <p:cNvSpPr/>
              <p:nvPr/>
            </p:nvSpPr>
            <p:spPr>
              <a:xfrm>
                <a:off x="7873120" y="1183576"/>
                <a:ext cx="459581" cy="449840"/>
              </a:xfrm>
              <a:custGeom>
                <a:avLst/>
                <a:gdLst>
                  <a:gd name="connsiteX0" fmla="*/ 450013 w 459581"/>
                  <a:gd name="connsiteY0" fmla="*/ 205248 h 449840"/>
                  <a:gd name="connsiteX1" fmla="*/ 376019 w 459581"/>
                  <a:gd name="connsiteY1" fmla="*/ 378516 h 449840"/>
                  <a:gd name="connsiteX2" fmla="*/ 228032 w 459581"/>
                  <a:gd name="connsiteY2" fmla="*/ 447915 h 449840"/>
                  <a:gd name="connsiteX3" fmla="*/ 52500 w 459581"/>
                  <a:gd name="connsiteY3" fmla="*/ 394771 h 449840"/>
                  <a:gd name="connsiteX4" fmla="*/ 59 w 459581"/>
                  <a:gd name="connsiteY4" fmla="*/ 305543 h 449840"/>
                  <a:gd name="connsiteX5" fmla="*/ 82466 w 459581"/>
                  <a:gd name="connsiteY5" fmla="*/ 104723 h 449840"/>
                  <a:gd name="connsiteX6" fmla="*/ 239328 w 459581"/>
                  <a:gd name="connsiteY6" fmla="*/ 12152 h 449840"/>
                  <a:gd name="connsiteX7" fmla="*/ 292114 w 459581"/>
                  <a:gd name="connsiteY7" fmla="*/ 8232 h 449840"/>
                  <a:gd name="connsiteX8" fmla="*/ 411172 w 459581"/>
                  <a:gd name="connsiteY8" fmla="*/ 98959 h 449840"/>
                  <a:gd name="connsiteX9" fmla="*/ 456236 w 459581"/>
                  <a:gd name="connsiteY9" fmla="*/ 170548 h 449840"/>
                  <a:gd name="connsiteX10" fmla="*/ 450013 w 459581"/>
                  <a:gd name="connsiteY10" fmla="*/ 205248 h 449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9581" h="449840">
                    <a:moveTo>
                      <a:pt x="450013" y="205248"/>
                    </a:moveTo>
                    <a:cubicBezTo>
                      <a:pt x="441945" y="270036"/>
                      <a:pt x="412555" y="326294"/>
                      <a:pt x="376019" y="378516"/>
                    </a:cubicBezTo>
                    <a:cubicBezTo>
                      <a:pt x="323117" y="454256"/>
                      <a:pt x="308941" y="452757"/>
                      <a:pt x="228032" y="447915"/>
                    </a:cubicBezTo>
                    <a:cubicBezTo>
                      <a:pt x="166141" y="444226"/>
                      <a:pt x="107245" y="425551"/>
                      <a:pt x="52500" y="394771"/>
                    </a:cubicBezTo>
                    <a:cubicBezTo>
                      <a:pt x="17001" y="374827"/>
                      <a:pt x="981" y="347390"/>
                      <a:pt x="59" y="305543"/>
                    </a:cubicBezTo>
                    <a:cubicBezTo>
                      <a:pt x="-1555" y="225653"/>
                      <a:pt x="30140" y="161787"/>
                      <a:pt x="82466" y="104723"/>
                    </a:cubicBezTo>
                    <a:cubicBezTo>
                      <a:pt x="125571" y="57803"/>
                      <a:pt x="178473" y="28522"/>
                      <a:pt x="239328" y="12152"/>
                    </a:cubicBezTo>
                    <a:cubicBezTo>
                      <a:pt x="255578" y="-6870"/>
                      <a:pt x="274826" y="163"/>
                      <a:pt x="292114" y="8232"/>
                    </a:cubicBezTo>
                    <a:cubicBezTo>
                      <a:pt x="338216" y="29790"/>
                      <a:pt x="378670" y="59417"/>
                      <a:pt x="411172" y="98959"/>
                    </a:cubicBezTo>
                    <a:cubicBezTo>
                      <a:pt x="429152" y="120862"/>
                      <a:pt x="446901" y="142996"/>
                      <a:pt x="456236" y="170548"/>
                    </a:cubicBezTo>
                    <a:cubicBezTo>
                      <a:pt x="460616" y="183575"/>
                      <a:pt x="462576" y="195564"/>
                      <a:pt x="450013" y="20524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0" name="Freeform 309">
                <a:extLst>
                  <a:ext uri="{FF2B5EF4-FFF2-40B4-BE49-F238E27FC236}">
                    <a16:creationId xmlns:a16="http://schemas.microsoft.com/office/drawing/2014/main" id="{E004AA08-85A6-945E-6C03-449CF845740F}"/>
                  </a:ext>
                </a:extLst>
              </p:cNvPr>
              <p:cNvSpPr/>
              <p:nvPr/>
            </p:nvSpPr>
            <p:spPr>
              <a:xfrm>
                <a:off x="6658394" y="4368490"/>
                <a:ext cx="456984" cy="419087"/>
              </a:xfrm>
              <a:custGeom>
                <a:avLst/>
                <a:gdLst>
                  <a:gd name="connsiteX0" fmla="*/ 283296 w 456984"/>
                  <a:gd name="connsiteY0" fmla="*/ 472 h 419087"/>
                  <a:gd name="connsiteX1" fmla="*/ 389100 w 456984"/>
                  <a:gd name="connsiteY1" fmla="*/ 53271 h 419087"/>
                  <a:gd name="connsiteX2" fmla="*/ 455026 w 456984"/>
                  <a:gd name="connsiteY2" fmla="*/ 200370 h 419087"/>
                  <a:gd name="connsiteX3" fmla="*/ 443039 w 456984"/>
                  <a:gd name="connsiteY3" fmla="*/ 266196 h 419087"/>
                  <a:gd name="connsiteX4" fmla="*/ 279493 w 456984"/>
                  <a:gd name="connsiteY4" fmla="*/ 410412 h 419087"/>
                  <a:gd name="connsiteX5" fmla="*/ 220713 w 456984"/>
                  <a:gd name="connsiteY5" fmla="*/ 415369 h 419087"/>
                  <a:gd name="connsiteX6" fmla="*/ 21092 w 456984"/>
                  <a:gd name="connsiteY6" fmla="*/ 283372 h 419087"/>
                  <a:gd name="connsiteX7" fmla="*/ 3804 w 456984"/>
                  <a:gd name="connsiteY7" fmla="*/ 200715 h 419087"/>
                  <a:gd name="connsiteX8" fmla="*/ 78604 w 456984"/>
                  <a:gd name="connsiteY8" fmla="*/ 83935 h 419087"/>
                  <a:gd name="connsiteX9" fmla="*/ 283181 w 456984"/>
                  <a:gd name="connsiteY9" fmla="*/ 472 h 419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6984" h="419087">
                    <a:moveTo>
                      <a:pt x="283296" y="472"/>
                    </a:moveTo>
                    <a:cubicBezTo>
                      <a:pt x="329629" y="-3448"/>
                      <a:pt x="362361" y="17303"/>
                      <a:pt x="389100" y="53271"/>
                    </a:cubicBezTo>
                    <a:cubicBezTo>
                      <a:pt x="422063" y="97654"/>
                      <a:pt x="444538" y="145957"/>
                      <a:pt x="455026" y="200370"/>
                    </a:cubicBezTo>
                    <a:cubicBezTo>
                      <a:pt x="459636" y="224694"/>
                      <a:pt x="456294" y="246367"/>
                      <a:pt x="443039" y="266196"/>
                    </a:cubicBezTo>
                    <a:cubicBezTo>
                      <a:pt x="401432" y="328678"/>
                      <a:pt x="346686" y="376750"/>
                      <a:pt x="279493" y="410412"/>
                    </a:cubicBezTo>
                    <a:cubicBezTo>
                      <a:pt x="260591" y="419865"/>
                      <a:pt x="241459" y="421710"/>
                      <a:pt x="220713" y="415369"/>
                    </a:cubicBezTo>
                    <a:cubicBezTo>
                      <a:pt x="141072" y="390930"/>
                      <a:pt x="74340" y="347123"/>
                      <a:pt x="21092" y="283372"/>
                    </a:cubicBezTo>
                    <a:cubicBezTo>
                      <a:pt x="1384" y="259739"/>
                      <a:pt x="-4840" y="232303"/>
                      <a:pt x="3804" y="200715"/>
                    </a:cubicBezTo>
                    <a:cubicBezTo>
                      <a:pt x="16828" y="153565"/>
                      <a:pt x="43913" y="116445"/>
                      <a:pt x="78604" y="83935"/>
                    </a:cubicBezTo>
                    <a:cubicBezTo>
                      <a:pt x="136232" y="30099"/>
                      <a:pt x="205269" y="4161"/>
                      <a:pt x="283181" y="47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1" name="Freeform 310">
                <a:extLst>
                  <a:ext uri="{FF2B5EF4-FFF2-40B4-BE49-F238E27FC236}">
                    <a16:creationId xmlns:a16="http://schemas.microsoft.com/office/drawing/2014/main" id="{2910D1B7-5D34-EF44-A850-FA3158902BB7}"/>
                  </a:ext>
                </a:extLst>
              </p:cNvPr>
              <p:cNvSpPr/>
              <p:nvPr/>
            </p:nvSpPr>
            <p:spPr>
              <a:xfrm>
                <a:off x="10352624" y="1561047"/>
                <a:ext cx="446706" cy="333862"/>
              </a:xfrm>
              <a:custGeom>
                <a:avLst/>
                <a:gdLst>
                  <a:gd name="connsiteX0" fmla="*/ 102603 w 446706"/>
                  <a:gd name="connsiteY0" fmla="*/ 331557 h 333862"/>
                  <a:gd name="connsiteX1" fmla="*/ 58460 w 446706"/>
                  <a:gd name="connsiteY1" fmla="*/ 331557 h 333862"/>
                  <a:gd name="connsiteX2" fmla="*/ 6135 w 446706"/>
                  <a:gd name="connsiteY2" fmla="*/ 290978 h 333862"/>
                  <a:gd name="connsiteX3" fmla="*/ 26 w 446706"/>
                  <a:gd name="connsiteY3" fmla="*/ 255817 h 333862"/>
                  <a:gd name="connsiteX4" fmla="*/ 6942 w 446706"/>
                  <a:gd name="connsiteY4" fmla="*/ 140421 h 333862"/>
                  <a:gd name="connsiteX5" fmla="*/ 98800 w 446706"/>
                  <a:gd name="connsiteY5" fmla="*/ 29405 h 333862"/>
                  <a:gd name="connsiteX6" fmla="*/ 198034 w 446706"/>
                  <a:gd name="connsiteY6" fmla="*/ 7040 h 333862"/>
                  <a:gd name="connsiteX7" fmla="*/ 324584 w 446706"/>
                  <a:gd name="connsiteY7" fmla="*/ 123 h 333862"/>
                  <a:gd name="connsiteX8" fmla="*/ 346597 w 446706"/>
                  <a:gd name="connsiteY8" fmla="*/ 1622 h 333862"/>
                  <a:gd name="connsiteX9" fmla="*/ 446523 w 446706"/>
                  <a:gd name="connsiteY9" fmla="*/ 130737 h 333862"/>
                  <a:gd name="connsiteX10" fmla="*/ 436842 w 446706"/>
                  <a:gd name="connsiteY10" fmla="*/ 207053 h 333862"/>
                  <a:gd name="connsiteX11" fmla="*/ 382211 w 446706"/>
                  <a:gd name="connsiteY11" fmla="*/ 283485 h 333862"/>
                  <a:gd name="connsiteX12" fmla="*/ 273065 w 446706"/>
                  <a:gd name="connsiteY12" fmla="*/ 319798 h 333862"/>
                  <a:gd name="connsiteX13" fmla="*/ 102834 w 446706"/>
                  <a:gd name="connsiteY13" fmla="*/ 333863 h 333862"/>
                  <a:gd name="connsiteX14" fmla="*/ 102719 w 446706"/>
                  <a:gd name="connsiteY14" fmla="*/ 331788 h 33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6706" h="333862">
                    <a:moveTo>
                      <a:pt x="102603" y="331557"/>
                    </a:moveTo>
                    <a:cubicBezTo>
                      <a:pt x="87851" y="331557"/>
                      <a:pt x="73098" y="332133"/>
                      <a:pt x="58460" y="331557"/>
                    </a:cubicBezTo>
                    <a:cubicBezTo>
                      <a:pt x="30684" y="330289"/>
                      <a:pt x="13857" y="317377"/>
                      <a:pt x="6135" y="290978"/>
                    </a:cubicBezTo>
                    <a:cubicBezTo>
                      <a:pt x="2793" y="279565"/>
                      <a:pt x="-319" y="267461"/>
                      <a:pt x="26" y="255817"/>
                    </a:cubicBezTo>
                    <a:cubicBezTo>
                      <a:pt x="1179" y="217313"/>
                      <a:pt x="1295" y="178463"/>
                      <a:pt x="6942" y="140421"/>
                    </a:cubicBezTo>
                    <a:cubicBezTo>
                      <a:pt x="15010" y="86354"/>
                      <a:pt x="46244" y="47043"/>
                      <a:pt x="98800" y="29405"/>
                    </a:cubicBezTo>
                    <a:cubicBezTo>
                      <a:pt x="130841" y="18684"/>
                      <a:pt x="164495" y="11075"/>
                      <a:pt x="198034" y="7040"/>
                    </a:cubicBezTo>
                    <a:cubicBezTo>
                      <a:pt x="239871" y="1968"/>
                      <a:pt x="282400" y="1968"/>
                      <a:pt x="324584" y="123"/>
                    </a:cubicBezTo>
                    <a:cubicBezTo>
                      <a:pt x="331845" y="-223"/>
                      <a:pt x="339451" y="123"/>
                      <a:pt x="346597" y="1622"/>
                    </a:cubicBezTo>
                    <a:cubicBezTo>
                      <a:pt x="417248" y="15802"/>
                      <a:pt x="442144" y="43239"/>
                      <a:pt x="446523" y="130737"/>
                    </a:cubicBezTo>
                    <a:cubicBezTo>
                      <a:pt x="447791" y="155984"/>
                      <a:pt x="442259" y="182037"/>
                      <a:pt x="436842" y="207053"/>
                    </a:cubicBezTo>
                    <a:cubicBezTo>
                      <a:pt x="429811" y="239793"/>
                      <a:pt x="411025" y="265270"/>
                      <a:pt x="382211" y="283485"/>
                    </a:cubicBezTo>
                    <a:cubicBezTo>
                      <a:pt x="348672" y="304581"/>
                      <a:pt x="311445" y="315418"/>
                      <a:pt x="273065" y="319798"/>
                    </a:cubicBezTo>
                    <a:cubicBezTo>
                      <a:pt x="216590" y="326369"/>
                      <a:pt x="159654" y="329367"/>
                      <a:pt x="102834" y="333863"/>
                    </a:cubicBezTo>
                    <a:cubicBezTo>
                      <a:pt x="102834" y="333171"/>
                      <a:pt x="102834" y="332479"/>
                      <a:pt x="102719" y="33178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2" name="Freeform 311">
                <a:extLst>
                  <a:ext uri="{FF2B5EF4-FFF2-40B4-BE49-F238E27FC236}">
                    <a16:creationId xmlns:a16="http://schemas.microsoft.com/office/drawing/2014/main" id="{5461047E-B9B6-14F9-3734-96337C722668}"/>
                  </a:ext>
                </a:extLst>
              </p:cNvPr>
              <p:cNvSpPr/>
              <p:nvPr/>
            </p:nvSpPr>
            <p:spPr>
              <a:xfrm>
                <a:off x="7973678" y="4745176"/>
                <a:ext cx="359021" cy="402744"/>
              </a:xfrm>
              <a:custGeom>
                <a:avLst/>
                <a:gdLst>
                  <a:gd name="connsiteX0" fmla="*/ 3 w 359021"/>
                  <a:gd name="connsiteY0" fmla="*/ 203881 h 402744"/>
                  <a:gd name="connsiteX1" fmla="*/ 81373 w 359021"/>
                  <a:gd name="connsiteY1" fmla="*/ 20468 h 402744"/>
                  <a:gd name="connsiteX2" fmla="*/ 128166 w 359021"/>
                  <a:gd name="connsiteY2" fmla="*/ 64 h 402744"/>
                  <a:gd name="connsiteX3" fmla="*/ 297821 w 359021"/>
                  <a:gd name="connsiteY3" fmla="*/ 41104 h 402744"/>
                  <a:gd name="connsiteX4" fmla="*/ 346228 w 359021"/>
                  <a:gd name="connsiteY4" fmla="*/ 102087 h 402744"/>
                  <a:gd name="connsiteX5" fmla="*/ 345536 w 359021"/>
                  <a:gd name="connsiteY5" fmla="*/ 284001 h 402744"/>
                  <a:gd name="connsiteX6" fmla="*/ 310038 w 359021"/>
                  <a:gd name="connsiteY6" fmla="*/ 331497 h 402744"/>
                  <a:gd name="connsiteX7" fmla="*/ 143495 w 359021"/>
                  <a:gd name="connsiteY7" fmla="*/ 400551 h 402744"/>
                  <a:gd name="connsiteX8" fmla="*/ 102349 w 359021"/>
                  <a:gd name="connsiteY8" fmla="*/ 402280 h 402744"/>
                  <a:gd name="connsiteX9" fmla="*/ 42762 w 359021"/>
                  <a:gd name="connsiteY9" fmla="*/ 367465 h 402744"/>
                  <a:gd name="connsiteX10" fmla="*/ 3 w 359021"/>
                  <a:gd name="connsiteY10" fmla="*/ 203766 h 40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9021" h="402744">
                    <a:moveTo>
                      <a:pt x="3" y="203881"/>
                    </a:moveTo>
                    <a:cubicBezTo>
                      <a:pt x="1732" y="144280"/>
                      <a:pt x="23169" y="75112"/>
                      <a:pt x="81373" y="20468"/>
                    </a:cubicBezTo>
                    <a:cubicBezTo>
                      <a:pt x="94857" y="7787"/>
                      <a:pt x="109956" y="410"/>
                      <a:pt x="128166" y="64"/>
                    </a:cubicBezTo>
                    <a:cubicBezTo>
                      <a:pt x="188213" y="-1089"/>
                      <a:pt x="244689" y="13436"/>
                      <a:pt x="297821" y="41104"/>
                    </a:cubicBezTo>
                    <a:cubicBezTo>
                      <a:pt x="323062" y="54246"/>
                      <a:pt x="338851" y="75573"/>
                      <a:pt x="346228" y="102087"/>
                    </a:cubicBezTo>
                    <a:cubicBezTo>
                      <a:pt x="362940" y="162610"/>
                      <a:pt x="363862" y="223364"/>
                      <a:pt x="345536" y="284001"/>
                    </a:cubicBezTo>
                    <a:cubicBezTo>
                      <a:pt x="339428" y="304406"/>
                      <a:pt x="327211" y="319508"/>
                      <a:pt x="310038" y="331497"/>
                    </a:cubicBezTo>
                    <a:cubicBezTo>
                      <a:pt x="259556" y="366543"/>
                      <a:pt x="205156" y="392481"/>
                      <a:pt x="143495" y="400551"/>
                    </a:cubicBezTo>
                    <a:cubicBezTo>
                      <a:pt x="129895" y="402280"/>
                      <a:pt x="115949" y="403433"/>
                      <a:pt x="102349" y="402280"/>
                    </a:cubicBezTo>
                    <a:cubicBezTo>
                      <a:pt x="77454" y="400090"/>
                      <a:pt x="57169" y="389369"/>
                      <a:pt x="42762" y="367465"/>
                    </a:cubicBezTo>
                    <a:cubicBezTo>
                      <a:pt x="13718" y="322966"/>
                      <a:pt x="-228" y="274433"/>
                      <a:pt x="3" y="20376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3" name="Freeform 312">
                <a:extLst>
                  <a:ext uri="{FF2B5EF4-FFF2-40B4-BE49-F238E27FC236}">
                    <a16:creationId xmlns:a16="http://schemas.microsoft.com/office/drawing/2014/main" id="{36AC404D-2B4A-7DB0-945B-2887EAB01DD5}"/>
                  </a:ext>
                </a:extLst>
              </p:cNvPr>
              <p:cNvSpPr/>
              <p:nvPr/>
            </p:nvSpPr>
            <p:spPr>
              <a:xfrm>
                <a:off x="6043757" y="3152268"/>
                <a:ext cx="404704" cy="360276"/>
              </a:xfrm>
              <a:custGeom>
                <a:avLst/>
                <a:gdLst>
                  <a:gd name="connsiteX0" fmla="*/ 223348 w 404704"/>
                  <a:gd name="connsiteY0" fmla="*/ 591 h 360276"/>
                  <a:gd name="connsiteX1" fmla="*/ 317857 w 404704"/>
                  <a:gd name="connsiteY1" fmla="*/ 13503 h 360276"/>
                  <a:gd name="connsiteX2" fmla="*/ 390698 w 404704"/>
                  <a:gd name="connsiteY2" fmla="*/ 89934 h 360276"/>
                  <a:gd name="connsiteX3" fmla="*/ 394617 w 404704"/>
                  <a:gd name="connsiteY3" fmla="*/ 252942 h 360276"/>
                  <a:gd name="connsiteX4" fmla="*/ 360616 w 404704"/>
                  <a:gd name="connsiteY4" fmla="*/ 298363 h 360276"/>
                  <a:gd name="connsiteX5" fmla="*/ 182202 w 404704"/>
                  <a:gd name="connsiteY5" fmla="*/ 359808 h 360276"/>
                  <a:gd name="connsiteX6" fmla="*/ 119043 w 404704"/>
                  <a:gd name="connsiteY6" fmla="*/ 338020 h 360276"/>
                  <a:gd name="connsiteX7" fmla="*/ 19117 w 404704"/>
                  <a:gd name="connsiteY7" fmla="*/ 204178 h 360276"/>
                  <a:gd name="connsiteX8" fmla="*/ 63720 w 404704"/>
                  <a:gd name="connsiteY8" fmla="*/ 44052 h 360276"/>
                  <a:gd name="connsiteX9" fmla="*/ 223579 w 404704"/>
                  <a:gd name="connsiteY9" fmla="*/ 822 h 360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4704" h="360276">
                    <a:moveTo>
                      <a:pt x="223348" y="591"/>
                    </a:moveTo>
                    <a:cubicBezTo>
                      <a:pt x="255274" y="-1599"/>
                      <a:pt x="286969" y="2205"/>
                      <a:pt x="317857" y="13503"/>
                    </a:cubicBezTo>
                    <a:cubicBezTo>
                      <a:pt x="355084" y="26991"/>
                      <a:pt x="380325" y="50739"/>
                      <a:pt x="390698" y="89934"/>
                    </a:cubicBezTo>
                    <a:cubicBezTo>
                      <a:pt x="404874" y="144001"/>
                      <a:pt x="411674" y="198068"/>
                      <a:pt x="394617" y="252942"/>
                    </a:cubicBezTo>
                    <a:cubicBezTo>
                      <a:pt x="388623" y="272310"/>
                      <a:pt x="377328" y="287526"/>
                      <a:pt x="360616" y="298363"/>
                    </a:cubicBezTo>
                    <a:cubicBezTo>
                      <a:pt x="306216" y="333409"/>
                      <a:pt x="246399" y="353006"/>
                      <a:pt x="182202" y="359808"/>
                    </a:cubicBezTo>
                    <a:cubicBezTo>
                      <a:pt x="157999" y="362344"/>
                      <a:pt x="137022" y="354505"/>
                      <a:pt x="119043" y="338020"/>
                    </a:cubicBezTo>
                    <a:cubicBezTo>
                      <a:pt x="77205" y="299631"/>
                      <a:pt x="41361" y="256977"/>
                      <a:pt x="19117" y="204178"/>
                    </a:cubicBezTo>
                    <a:cubicBezTo>
                      <a:pt x="-15114" y="123136"/>
                      <a:pt x="-5202" y="95699"/>
                      <a:pt x="63720" y="44052"/>
                    </a:cubicBezTo>
                    <a:cubicBezTo>
                      <a:pt x="110168" y="9353"/>
                      <a:pt x="164799" y="-3443"/>
                      <a:pt x="223579" y="82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4" name="Freeform 313">
                <a:extLst>
                  <a:ext uri="{FF2B5EF4-FFF2-40B4-BE49-F238E27FC236}">
                    <a16:creationId xmlns:a16="http://schemas.microsoft.com/office/drawing/2014/main" id="{B343E296-F3FD-920E-6F3D-C199318FF7AC}"/>
                  </a:ext>
                </a:extLst>
              </p:cNvPr>
              <p:cNvSpPr/>
              <p:nvPr/>
            </p:nvSpPr>
            <p:spPr>
              <a:xfrm>
                <a:off x="7127281" y="3732404"/>
                <a:ext cx="387966" cy="355144"/>
              </a:xfrm>
              <a:custGeom>
                <a:avLst/>
                <a:gdLst>
                  <a:gd name="connsiteX0" fmla="*/ 210540 w 387966"/>
                  <a:gd name="connsiteY0" fmla="*/ 354810 h 355144"/>
                  <a:gd name="connsiteX1" fmla="*/ 93210 w 387966"/>
                  <a:gd name="connsiteY1" fmla="*/ 340861 h 355144"/>
                  <a:gd name="connsiteX2" fmla="*/ 38926 w 387966"/>
                  <a:gd name="connsiteY2" fmla="*/ 293365 h 355144"/>
                  <a:gd name="connsiteX3" fmla="*/ 1237 w 387966"/>
                  <a:gd name="connsiteY3" fmla="*/ 92199 h 355144"/>
                  <a:gd name="connsiteX4" fmla="*/ 48492 w 387966"/>
                  <a:gd name="connsiteY4" fmla="*/ 22223 h 355144"/>
                  <a:gd name="connsiteX5" fmla="*/ 105773 w 387966"/>
                  <a:gd name="connsiteY5" fmla="*/ 3087 h 355144"/>
                  <a:gd name="connsiteX6" fmla="*/ 356683 w 387966"/>
                  <a:gd name="connsiteY6" fmla="*/ 82170 h 355144"/>
                  <a:gd name="connsiteX7" fmla="*/ 387340 w 387966"/>
                  <a:gd name="connsiteY7" fmla="*/ 164250 h 355144"/>
                  <a:gd name="connsiteX8" fmla="*/ 344927 w 387966"/>
                  <a:gd name="connsiteY8" fmla="*/ 300282 h 355144"/>
                  <a:gd name="connsiteX9" fmla="*/ 249265 w 387966"/>
                  <a:gd name="connsiteY9" fmla="*/ 354810 h 355144"/>
                  <a:gd name="connsiteX10" fmla="*/ 210540 w 387966"/>
                  <a:gd name="connsiteY10" fmla="*/ 354810 h 355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7966" h="355144">
                    <a:moveTo>
                      <a:pt x="210540" y="354810"/>
                    </a:moveTo>
                    <a:cubicBezTo>
                      <a:pt x="170662" y="356308"/>
                      <a:pt x="131590" y="352965"/>
                      <a:pt x="93210" y="340861"/>
                    </a:cubicBezTo>
                    <a:cubicBezTo>
                      <a:pt x="67739" y="332791"/>
                      <a:pt x="50336" y="317113"/>
                      <a:pt x="38926" y="293365"/>
                    </a:cubicBezTo>
                    <a:cubicBezTo>
                      <a:pt x="8152" y="229614"/>
                      <a:pt x="-4179" y="162521"/>
                      <a:pt x="1237" y="92199"/>
                    </a:cubicBezTo>
                    <a:cubicBezTo>
                      <a:pt x="3658" y="60266"/>
                      <a:pt x="20369" y="36172"/>
                      <a:pt x="48492" y="22223"/>
                    </a:cubicBezTo>
                    <a:cubicBezTo>
                      <a:pt x="66356" y="13347"/>
                      <a:pt x="86180" y="5392"/>
                      <a:pt x="105773" y="3087"/>
                    </a:cubicBezTo>
                    <a:cubicBezTo>
                      <a:pt x="200858" y="-8326"/>
                      <a:pt x="286838" y="10580"/>
                      <a:pt x="356683" y="82170"/>
                    </a:cubicBezTo>
                    <a:cubicBezTo>
                      <a:pt x="379849" y="105917"/>
                      <a:pt x="390798" y="132317"/>
                      <a:pt x="387340" y="164250"/>
                    </a:cubicBezTo>
                    <a:cubicBezTo>
                      <a:pt x="382154" y="212207"/>
                      <a:pt x="369707" y="258089"/>
                      <a:pt x="344927" y="300282"/>
                    </a:cubicBezTo>
                    <a:cubicBezTo>
                      <a:pt x="323259" y="337287"/>
                      <a:pt x="291449" y="354579"/>
                      <a:pt x="249265" y="354810"/>
                    </a:cubicBezTo>
                    <a:cubicBezTo>
                      <a:pt x="236357" y="354810"/>
                      <a:pt x="223448" y="354810"/>
                      <a:pt x="210540" y="35481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5" name="Freeform 314">
                <a:extLst>
                  <a:ext uri="{FF2B5EF4-FFF2-40B4-BE49-F238E27FC236}">
                    <a16:creationId xmlns:a16="http://schemas.microsoft.com/office/drawing/2014/main" id="{B49D0EB6-1A41-E21C-B98D-F7D30EDBFBD9}"/>
                  </a:ext>
                </a:extLst>
              </p:cNvPr>
              <p:cNvSpPr/>
              <p:nvPr/>
            </p:nvSpPr>
            <p:spPr>
              <a:xfrm>
                <a:off x="9290100" y="3941828"/>
                <a:ext cx="372060" cy="375399"/>
              </a:xfrm>
              <a:custGeom>
                <a:avLst/>
                <a:gdLst>
                  <a:gd name="connsiteX0" fmla="*/ 372060 w 372060"/>
                  <a:gd name="connsiteY0" fmla="*/ 155186 h 375399"/>
                  <a:gd name="connsiteX1" fmla="*/ 280894 w 372060"/>
                  <a:gd name="connsiteY1" fmla="*/ 335832 h 375399"/>
                  <a:gd name="connsiteX2" fmla="*/ 263144 w 372060"/>
                  <a:gd name="connsiteY2" fmla="*/ 348973 h 375399"/>
                  <a:gd name="connsiteX3" fmla="*/ 155842 w 372060"/>
                  <a:gd name="connsiteY3" fmla="*/ 371568 h 375399"/>
                  <a:gd name="connsiteX4" fmla="*/ 249 w 372060"/>
                  <a:gd name="connsiteY4" fmla="*/ 181354 h 375399"/>
                  <a:gd name="connsiteX5" fmla="*/ 74357 w 372060"/>
                  <a:gd name="connsiteY5" fmla="*/ 48320 h 375399"/>
                  <a:gd name="connsiteX6" fmla="*/ 239978 w 372060"/>
                  <a:gd name="connsiteY6" fmla="*/ 2322 h 375399"/>
                  <a:gd name="connsiteX7" fmla="*/ 359728 w 372060"/>
                  <a:gd name="connsiteY7" fmla="*/ 100657 h 375399"/>
                  <a:gd name="connsiteX8" fmla="*/ 371945 w 372060"/>
                  <a:gd name="connsiteY8" fmla="*/ 155301 h 375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2060" h="375399">
                    <a:moveTo>
                      <a:pt x="372060" y="155186"/>
                    </a:moveTo>
                    <a:cubicBezTo>
                      <a:pt x="367796" y="234268"/>
                      <a:pt x="334372" y="290295"/>
                      <a:pt x="280894" y="335832"/>
                    </a:cubicBezTo>
                    <a:cubicBezTo>
                      <a:pt x="275246" y="340558"/>
                      <a:pt x="269369" y="344938"/>
                      <a:pt x="263144" y="348973"/>
                    </a:cubicBezTo>
                    <a:cubicBezTo>
                      <a:pt x="230412" y="370531"/>
                      <a:pt x="194798" y="381829"/>
                      <a:pt x="155842" y="371568"/>
                    </a:cubicBezTo>
                    <a:cubicBezTo>
                      <a:pt x="65022" y="347705"/>
                      <a:pt x="-4707" y="281073"/>
                      <a:pt x="249" y="181354"/>
                    </a:cubicBezTo>
                    <a:cubicBezTo>
                      <a:pt x="3015" y="125097"/>
                      <a:pt x="31137" y="82097"/>
                      <a:pt x="74357" y="48320"/>
                    </a:cubicBezTo>
                    <a:cubicBezTo>
                      <a:pt x="122995" y="10277"/>
                      <a:pt x="178778" y="-6554"/>
                      <a:pt x="239978" y="2322"/>
                    </a:cubicBezTo>
                    <a:cubicBezTo>
                      <a:pt x="298758" y="10738"/>
                      <a:pt x="338175" y="46475"/>
                      <a:pt x="359728" y="100657"/>
                    </a:cubicBezTo>
                    <a:cubicBezTo>
                      <a:pt x="367450" y="119909"/>
                      <a:pt x="369063" y="141582"/>
                      <a:pt x="371945" y="155301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6" name="Freeform 315">
                <a:extLst>
                  <a:ext uri="{FF2B5EF4-FFF2-40B4-BE49-F238E27FC236}">
                    <a16:creationId xmlns:a16="http://schemas.microsoft.com/office/drawing/2014/main" id="{CDDFABB3-E5EA-D579-7EE7-8C91DE2F694A}"/>
                  </a:ext>
                </a:extLst>
              </p:cNvPr>
              <p:cNvSpPr/>
              <p:nvPr/>
            </p:nvSpPr>
            <p:spPr>
              <a:xfrm>
                <a:off x="5297234" y="5219515"/>
                <a:ext cx="338119" cy="471208"/>
              </a:xfrm>
              <a:custGeom>
                <a:avLst/>
                <a:gdLst>
                  <a:gd name="connsiteX0" fmla="*/ 138886 w 338119"/>
                  <a:gd name="connsiteY0" fmla="*/ 28928 h 471208"/>
                  <a:gd name="connsiteX1" fmla="*/ 169198 w 338119"/>
                  <a:gd name="connsiteY1" fmla="*/ 15555 h 471208"/>
                  <a:gd name="connsiteX2" fmla="*/ 235700 w 338119"/>
                  <a:gd name="connsiteY2" fmla="*/ 108 h 471208"/>
                  <a:gd name="connsiteX3" fmla="*/ 326059 w 338119"/>
                  <a:gd name="connsiteY3" fmla="*/ 65933 h 471208"/>
                  <a:gd name="connsiteX4" fmla="*/ 337124 w 338119"/>
                  <a:gd name="connsiteY4" fmla="*/ 130837 h 471208"/>
                  <a:gd name="connsiteX5" fmla="*/ 324100 w 338119"/>
                  <a:gd name="connsiteY5" fmla="*/ 278858 h 471208"/>
                  <a:gd name="connsiteX6" fmla="*/ 303239 w 338119"/>
                  <a:gd name="connsiteY6" fmla="*/ 389874 h 471208"/>
                  <a:gd name="connsiteX7" fmla="*/ 281686 w 338119"/>
                  <a:gd name="connsiteY7" fmla="*/ 440252 h 471208"/>
                  <a:gd name="connsiteX8" fmla="*/ 211381 w 338119"/>
                  <a:gd name="connsiteY8" fmla="*/ 467573 h 471208"/>
                  <a:gd name="connsiteX9" fmla="*/ 173347 w 338119"/>
                  <a:gd name="connsiteY9" fmla="*/ 451780 h 471208"/>
                  <a:gd name="connsiteX10" fmla="*/ 23401 w 338119"/>
                  <a:gd name="connsiteY10" fmla="*/ 300877 h 471208"/>
                  <a:gd name="connsiteX11" fmla="*/ 580 w 338119"/>
                  <a:gd name="connsiteY11" fmla="*/ 205885 h 471208"/>
                  <a:gd name="connsiteX12" fmla="*/ 27665 w 338119"/>
                  <a:gd name="connsiteY12" fmla="*/ 192281 h 471208"/>
                  <a:gd name="connsiteX13" fmla="*/ 134045 w 338119"/>
                  <a:gd name="connsiteY13" fmla="*/ 56711 h 471208"/>
                  <a:gd name="connsiteX14" fmla="*/ 139232 w 338119"/>
                  <a:gd name="connsiteY14" fmla="*/ 29043 h 47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38119" h="471208">
                    <a:moveTo>
                      <a:pt x="138886" y="28928"/>
                    </a:moveTo>
                    <a:cubicBezTo>
                      <a:pt x="149028" y="24547"/>
                      <a:pt x="159286" y="20628"/>
                      <a:pt x="169198" y="15555"/>
                    </a:cubicBezTo>
                    <a:cubicBezTo>
                      <a:pt x="190174" y="4949"/>
                      <a:pt x="212188" y="1145"/>
                      <a:pt x="235700" y="108"/>
                    </a:cubicBezTo>
                    <a:cubicBezTo>
                      <a:pt x="282954" y="-1852"/>
                      <a:pt x="311768" y="23049"/>
                      <a:pt x="326059" y="65933"/>
                    </a:cubicBezTo>
                    <a:cubicBezTo>
                      <a:pt x="332975" y="86569"/>
                      <a:pt x="335280" y="109048"/>
                      <a:pt x="337124" y="130837"/>
                    </a:cubicBezTo>
                    <a:cubicBezTo>
                      <a:pt x="341273" y="180753"/>
                      <a:pt x="331591" y="229863"/>
                      <a:pt x="324100" y="278858"/>
                    </a:cubicBezTo>
                    <a:cubicBezTo>
                      <a:pt x="318453" y="316094"/>
                      <a:pt x="311883" y="353214"/>
                      <a:pt x="303239" y="389874"/>
                    </a:cubicBezTo>
                    <a:cubicBezTo>
                      <a:pt x="299090" y="407396"/>
                      <a:pt x="290906" y="424574"/>
                      <a:pt x="281686" y="440252"/>
                    </a:cubicBezTo>
                    <a:cubicBezTo>
                      <a:pt x="264628" y="469072"/>
                      <a:pt x="243998" y="476681"/>
                      <a:pt x="211381" y="467573"/>
                    </a:cubicBezTo>
                    <a:cubicBezTo>
                      <a:pt x="198242" y="463884"/>
                      <a:pt x="184987" y="458697"/>
                      <a:pt x="173347" y="451780"/>
                    </a:cubicBezTo>
                    <a:cubicBezTo>
                      <a:pt x="110303" y="414544"/>
                      <a:pt x="60167" y="364166"/>
                      <a:pt x="23401" y="300877"/>
                    </a:cubicBezTo>
                    <a:cubicBezTo>
                      <a:pt x="6343" y="271480"/>
                      <a:pt x="-2416" y="240008"/>
                      <a:pt x="580" y="205885"/>
                    </a:cubicBezTo>
                    <a:cubicBezTo>
                      <a:pt x="4845" y="191936"/>
                      <a:pt x="17062" y="193550"/>
                      <a:pt x="27665" y="192281"/>
                    </a:cubicBezTo>
                    <a:cubicBezTo>
                      <a:pt x="100045" y="183751"/>
                      <a:pt x="142343" y="129799"/>
                      <a:pt x="134045" y="56711"/>
                    </a:cubicBezTo>
                    <a:cubicBezTo>
                      <a:pt x="132892" y="47027"/>
                      <a:pt x="128859" y="36652"/>
                      <a:pt x="139232" y="2904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7" name="Freeform 316">
                <a:extLst>
                  <a:ext uri="{FF2B5EF4-FFF2-40B4-BE49-F238E27FC236}">
                    <a16:creationId xmlns:a16="http://schemas.microsoft.com/office/drawing/2014/main" id="{AEE055F3-1294-519B-7D82-78F65B721FD7}"/>
                  </a:ext>
                </a:extLst>
              </p:cNvPr>
              <p:cNvSpPr/>
              <p:nvPr/>
            </p:nvSpPr>
            <p:spPr>
              <a:xfrm>
                <a:off x="9570976" y="77269"/>
                <a:ext cx="409676" cy="377604"/>
              </a:xfrm>
              <a:custGeom>
                <a:avLst/>
                <a:gdLst>
                  <a:gd name="connsiteX0" fmla="*/ 158032 w 409676"/>
                  <a:gd name="connsiteY0" fmla="*/ 0 h 377604"/>
                  <a:gd name="connsiteX1" fmla="*/ 253118 w 409676"/>
                  <a:gd name="connsiteY1" fmla="*/ 40925 h 377604"/>
                  <a:gd name="connsiteX2" fmla="*/ 375633 w 409676"/>
                  <a:gd name="connsiteY2" fmla="*/ 174766 h 377604"/>
                  <a:gd name="connsiteX3" fmla="*/ 397993 w 409676"/>
                  <a:gd name="connsiteY3" fmla="*/ 209466 h 377604"/>
                  <a:gd name="connsiteX4" fmla="*/ 378745 w 409676"/>
                  <a:gd name="connsiteY4" fmla="*/ 305611 h 377604"/>
                  <a:gd name="connsiteX5" fmla="*/ 284236 w 409676"/>
                  <a:gd name="connsiteY5" fmla="*/ 367056 h 377604"/>
                  <a:gd name="connsiteX6" fmla="*/ 192263 w 409676"/>
                  <a:gd name="connsiteY6" fmla="*/ 362444 h 377604"/>
                  <a:gd name="connsiteX7" fmla="*/ 129795 w 409676"/>
                  <a:gd name="connsiteY7" fmla="*/ 308954 h 377604"/>
                  <a:gd name="connsiteX8" fmla="*/ 26527 w 409676"/>
                  <a:gd name="connsiteY8" fmla="*/ 190445 h 377604"/>
                  <a:gd name="connsiteX9" fmla="*/ 22378 w 409676"/>
                  <a:gd name="connsiteY9" fmla="*/ 81504 h 377604"/>
                  <a:gd name="connsiteX10" fmla="*/ 118269 w 409676"/>
                  <a:gd name="connsiteY10" fmla="*/ 9223 h 377604"/>
                  <a:gd name="connsiteX11" fmla="*/ 158032 w 409676"/>
                  <a:gd name="connsiteY11" fmla="*/ 0 h 377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9676" h="377604">
                    <a:moveTo>
                      <a:pt x="158032" y="0"/>
                    </a:moveTo>
                    <a:cubicBezTo>
                      <a:pt x="195952" y="346"/>
                      <a:pt x="225571" y="18099"/>
                      <a:pt x="253118" y="40925"/>
                    </a:cubicBezTo>
                    <a:cubicBezTo>
                      <a:pt x="300257" y="79890"/>
                      <a:pt x="338982" y="126464"/>
                      <a:pt x="375633" y="174766"/>
                    </a:cubicBezTo>
                    <a:cubicBezTo>
                      <a:pt x="383932" y="185718"/>
                      <a:pt x="391423" y="197362"/>
                      <a:pt x="397993" y="209466"/>
                    </a:cubicBezTo>
                    <a:cubicBezTo>
                      <a:pt x="417355" y="244973"/>
                      <a:pt x="413782" y="272525"/>
                      <a:pt x="378745" y="305611"/>
                    </a:cubicBezTo>
                    <a:cubicBezTo>
                      <a:pt x="351430" y="331434"/>
                      <a:pt x="318928" y="351147"/>
                      <a:pt x="284236" y="367056"/>
                    </a:cubicBezTo>
                    <a:cubicBezTo>
                      <a:pt x="252081" y="381812"/>
                      <a:pt x="220846" y="381812"/>
                      <a:pt x="192263" y="362444"/>
                    </a:cubicBezTo>
                    <a:cubicBezTo>
                      <a:pt x="169673" y="347112"/>
                      <a:pt x="148351" y="328898"/>
                      <a:pt x="129795" y="308954"/>
                    </a:cubicBezTo>
                    <a:cubicBezTo>
                      <a:pt x="94182" y="270565"/>
                      <a:pt x="60873" y="230102"/>
                      <a:pt x="26527" y="190445"/>
                    </a:cubicBezTo>
                    <a:cubicBezTo>
                      <a:pt x="-5514" y="153555"/>
                      <a:pt x="-10470" y="116204"/>
                      <a:pt x="22378" y="81504"/>
                    </a:cubicBezTo>
                    <a:cubicBezTo>
                      <a:pt x="49578" y="52799"/>
                      <a:pt x="84961" y="31472"/>
                      <a:pt x="118269" y="9223"/>
                    </a:cubicBezTo>
                    <a:cubicBezTo>
                      <a:pt x="128873" y="2190"/>
                      <a:pt x="144663" y="2882"/>
                      <a:pt x="158032" y="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8" name="Freeform 317">
                <a:extLst>
                  <a:ext uri="{FF2B5EF4-FFF2-40B4-BE49-F238E27FC236}">
                    <a16:creationId xmlns:a16="http://schemas.microsoft.com/office/drawing/2014/main" id="{D96A7789-FC74-381E-AF2E-AE3A2635BFBD}"/>
                  </a:ext>
                </a:extLst>
              </p:cNvPr>
              <p:cNvSpPr/>
              <p:nvPr/>
            </p:nvSpPr>
            <p:spPr>
              <a:xfrm>
                <a:off x="9150381" y="2994066"/>
                <a:ext cx="334446" cy="407900"/>
              </a:xfrm>
              <a:custGeom>
                <a:avLst/>
                <a:gdLst>
                  <a:gd name="connsiteX0" fmla="*/ 510 w 334446"/>
                  <a:gd name="connsiteY0" fmla="*/ 156372 h 407900"/>
                  <a:gd name="connsiteX1" fmla="*/ 59751 w 334446"/>
                  <a:gd name="connsiteY1" fmla="*/ 55270 h 407900"/>
                  <a:gd name="connsiteX2" fmla="*/ 231019 w 334446"/>
                  <a:gd name="connsiteY2" fmla="*/ 166 h 407900"/>
                  <a:gd name="connsiteX3" fmla="*/ 282077 w 334446"/>
                  <a:gd name="connsiteY3" fmla="*/ 9619 h 407900"/>
                  <a:gd name="connsiteX4" fmla="*/ 334402 w 334446"/>
                  <a:gd name="connsiteY4" fmla="*/ 83053 h 407900"/>
                  <a:gd name="connsiteX5" fmla="*/ 305473 w 334446"/>
                  <a:gd name="connsiteY5" fmla="*/ 196720 h 407900"/>
                  <a:gd name="connsiteX6" fmla="*/ 211195 w 334446"/>
                  <a:gd name="connsiteY6" fmla="*/ 352465 h 407900"/>
                  <a:gd name="connsiteX7" fmla="*/ 179731 w 334446"/>
                  <a:gd name="connsiteY7" fmla="*/ 387165 h 407900"/>
                  <a:gd name="connsiteX8" fmla="*/ 91561 w 334446"/>
                  <a:gd name="connsiteY8" fmla="*/ 388664 h 407900"/>
                  <a:gd name="connsiteX9" fmla="*/ 57791 w 334446"/>
                  <a:gd name="connsiteY9" fmla="*/ 345318 h 407900"/>
                  <a:gd name="connsiteX10" fmla="*/ 395 w 334446"/>
                  <a:gd name="connsiteY10" fmla="*/ 156372 h 407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4446" h="407900">
                    <a:moveTo>
                      <a:pt x="510" y="156372"/>
                    </a:moveTo>
                    <a:cubicBezTo>
                      <a:pt x="-3754" y="118444"/>
                      <a:pt x="18951" y="82822"/>
                      <a:pt x="59751" y="55270"/>
                    </a:cubicBezTo>
                    <a:cubicBezTo>
                      <a:pt x="111616" y="20109"/>
                      <a:pt x="169473" y="3739"/>
                      <a:pt x="231019" y="166"/>
                    </a:cubicBezTo>
                    <a:cubicBezTo>
                      <a:pt x="247846" y="-872"/>
                      <a:pt x="266403" y="3048"/>
                      <a:pt x="282077" y="9619"/>
                    </a:cubicBezTo>
                    <a:cubicBezTo>
                      <a:pt x="313772" y="22876"/>
                      <a:pt x="333596" y="45125"/>
                      <a:pt x="334402" y="83053"/>
                    </a:cubicBezTo>
                    <a:cubicBezTo>
                      <a:pt x="335209" y="124208"/>
                      <a:pt x="324837" y="162021"/>
                      <a:pt x="305473" y="196720"/>
                    </a:cubicBezTo>
                    <a:cubicBezTo>
                      <a:pt x="275968" y="249635"/>
                      <a:pt x="243582" y="301050"/>
                      <a:pt x="211195" y="352465"/>
                    </a:cubicBezTo>
                    <a:cubicBezTo>
                      <a:pt x="203013" y="365492"/>
                      <a:pt x="191026" y="376329"/>
                      <a:pt x="179731" y="387165"/>
                    </a:cubicBezTo>
                    <a:cubicBezTo>
                      <a:pt x="152070" y="413910"/>
                      <a:pt x="119914" y="415178"/>
                      <a:pt x="91561" y="388664"/>
                    </a:cubicBezTo>
                    <a:cubicBezTo>
                      <a:pt x="78307" y="376329"/>
                      <a:pt x="67358" y="360881"/>
                      <a:pt x="57791" y="345318"/>
                    </a:cubicBezTo>
                    <a:cubicBezTo>
                      <a:pt x="24944" y="291251"/>
                      <a:pt x="1202" y="233841"/>
                      <a:pt x="395" y="15637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19" name="Freeform 318">
                <a:extLst>
                  <a:ext uri="{FF2B5EF4-FFF2-40B4-BE49-F238E27FC236}">
                    <a16:creationId xmlns:a16="http://schemas.microsoft.com/office/drawing/2014/main" id="{AAF35F90-7647-ADCA-3537-338709480495}"/>
                  </a:ext>
                </a:extLst>
              </p:cNvPr>
              <p:cNvSpPr/>
              <p:nvPr/>
            </p:nvSpPr>
            <p:spPr>
              <a:xfrm>
                <a:off x="9681509" y="820488"/>
                <a:ext cx="356838" cy="355660"/>
              </a:xfrm>
              <a:custGeom>
                <a:avLst/>
                <a:gdLst>
                  <a:gd name="connsiteX0" fmla="*/ 355805 w 356838"/>
                  <a:gd name="connsiteY0" fmla="*/ 174305 h 355660"/>
                  <a:gd name="connsiteX1" fmla="*/ 175201 w 356838"/>
                  <a:gd name="connsiteY1" fmla="*/ 355643 h 355660"/>
                  <a:gd name="connsiteX2" fmla="*/ 130 w 356838"/>
                  <a:gd name="connsiteY2" fmla="*/ 184220 h 355660"/>
                  <a:gd name="connsiteX3" fmla="*/ 183499 w 356838"/>
                  <a:gd name="connsiteY3" fmla="*/ 0 h 355660"/>
                  <a:gd name="connsiteX4" fmla="*/ 355921 w 356838"/>
                  <a:gd name="connsiteY4" fmla="*/ 174305 h 35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838" h="355660">
                    <a:moveTo>
                      <a:pt x="355805" y="174305"/>
                    </a:moveTo>
                    <a:cubicBezTo>
                      <a:pt x="368484" y="248892"/>
                      <a:pt x="261988" y="357257"/>
                      <a:pt x="175201" y="355643"/>
                    </a:cubicBezTo>
                    <a:cubicBezTo>
                      <a:pt x="92218" y="354029"/>
                      <a:pt x="-4019" y="257654"/>
                      <a:pt x="130" y="184220"/>
                    </a:cubicBezTo>
                    <a:cubicBezTo>
                      <a:pt x="5316" y="91072"/>
                      <a:pt x="90720" y="115"/>
                      <a:pt x="183499" y="0"/>
                    </a:cubicBezTo>
                    <a:cubicBezTo>
                      <a:pt x="272476" y="0"/>
                      <a:pt x="366870" y="95453"/>
                      <a:pt x="355921" y="17430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0" name="Freeform 319">
                <a:extLst>
                  <a:ext uri="{FF2B5EF4-FFF2-40B4-BE49-F238E27FC236}">
                    <a16:creationId xmlns:a16="http://schemas.microsoft.com/office/drawing/2014/main" id="{D47A93BF-D244-1183-8D5B-AF00A89EDBC5}"/>
                  </a:ext>
                </a:extLst>
              </p:cNvPr>
              <p:cNvSpPr/>
              <p:nvPr/>
            </p:nvSpPr>
            <p:spPr>
              <a:xfrm>
                <a:off x="8511022" y="1477771"/>
                <a:ext cx="337325" cy="336063"/>
              </a:xfrm>
              <a:custGeom>
                <a:avLst/>
                <a:gdLst>
                  <a:gd name="connsiteX0" fmla="*/ 337326 w 337325"/>
                  <a:gd name="connsiteY0" fmla="*/ 165941 h 336063"/>
                  <a:gd name="connsiteX1" fmla="*/ 261949 w 337325"/>
                  <a:gd name="connsiteY1" fmla="*/ 312924 h 336063"/>
                  <a:gd name="connsiteX2" fmla="*/ 138166 w 337325"/>
                  <a:gd name="connsiteY2" fmla="*/ 324683 h 336063"/>
                  <a:gd name="connsiteX3" fmla="*/ 52301 w 337325"/>
                  <a:gd name="connsiteY3" fmla="*/ 275458 h 336063"/>
                  <a:gd name="connsiteX4" fmla="*/ 4355 w 337325"/>
                  <a:gd name="connsiteY4" fmla="*/ 209171 h 336063"/>
                  <a:gd name="connsiteX5" fmla="*/ 7697 w 337325"/>
                  <a:gd name="connsiteY5" fmla="*/ 155681 h 336063"/>
                  <a:gd name="connsiteX6" fmla="*/ 81806 w 337325"/>
                  <a:gd name="connsiteY6" fmla="*/ 53657 h 336063"/>
                  <a:gd name="connsiteX7" fmla="*/ 152572 w 337325"/>
                  <a:gd name="connsiteY7" fmla="*/ 6391 h 336063"/>
                  <a:gd name="connsiteX8" fmla="*/ 198214 w 337325"/>
                  <a:gd name="connsiteY8" fmla="*/ 3855 h 336063"/>
                  <a:gd name="connsiteX9" fmla="*/ 325800 w 337325"/>
                  <a:gd name="connsiteY9" fmla="*/ 123056 h 336063"/>
                  <a:gd name="connsiteX10" fmla="*/ 337211 w 337325"/>
                  <a:gd name="connsiteY10" fmla="*/ 165941 h 336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7325" h="336063">
                    <a:moveTo>
                      <a:pt x="337326" y="165941"/>
                    </a:moveTo>
                    <a:cubicBezTo>
                      <a:pt x="331217" y="228769"/>
                      <a:pt x="310932" y="279147"/>
                      <a:pt x="261949" y="312924"/>
                    </a:cubicBezTo>
                    <a:cubicBezTo>
                      <a:pt x="223685" y="339439"/>
                      <a:pt x="180349" y="342897"/>
                      <a:pt x="138166" y="324683"/>
                    </a:cubicBezTo>
                    <a:cubicBezTo>
                      <a:pt x="108084" y="311656"/>
                      <a:pt x="79731" y="293788"/>
                      <a:pt x="52301" y="275458"/>
                    </a:cubicBezTo>
                    <a:cubicBezTo>
                      <a:pt x="28789" y="259780"/>
                      <a:pt x="15420" y="234994"/>
                      <a:pt x="4355" y="209171"/>
                    </a:cubicBezTo>
                    <a:cubicBezTo>
                      <a:pt x="-3597" y="190496"/>
                      <a:pt x="436" y="172973"/>
                      <a:pt x="7697" y="155681"/>
                    </a:cubicBezTo>
                    <a:cubicBezTo>
                      <a:pt x="24294" y="115793"/>
                      <a:pt x="51495" y="83515"/>
                      <a:pt x="81806" y="53657"/>
                    </a:cubicBezTo>
                    <a:cubicBezTo>
                      <a:pt x="102322" y="33482"/>
                      <a:pt x="126064" y="17804"/>
                      <a:pt x="152572" y="6391"/>
                    </a:cubicBezTo>
                    <a:cubicBezTo>
                      <a:pt x="167671" y="-64"/>
                      <a:pt x="183231" y="-2831"/>
                      <a:pt x="198214" y="3855"/>
                    </a:cubicBezTo>
                    <a:cubicBezTo>
                      <a:pt x="254227" y="28987"/>
                      <a:pt x="302403" y="63110"/>
                      <a:pt x="325800" y="123056"/>
                    </a:cubicBezTo>
                    <a:cubicBezTo>
                      <a:pt x="331793" y="138273"/>
                      <a:pt x="334329" y="154874"/>
                      <a:pt x="337211" y="165941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1" name="Freeform 320">
                <a:extLst>
                  <a:ext uri="{FF2B5EF4-FFF2-40B4-BE49-F238E27FC236}">
                    <a16:creationId xmlns:a16="http://schemas.microsoft.com/office/drawing/2014/main" id="{F8A17639-21E8-3AA6-756C-E59546DBF5DC}"/>
                  </a:ext>
                </a:extLst>
              </p:cNvPr>
              <p:cNvSpPr/>
              <p:nvPr/>
            </p:nvSpPr>
            <p:spPr>
              <a:xfrm>
                <a:off x="11065616" y="2682"/>
                <a:ext cx="570048" cy="232813"/>
              </a:xfrm>
              <a:custGeom>
                <a:avLst/>
                <a:gdLst>
                  <a:gd name="connsiteX0" fmla="*/ 0 w 570048"/>
                  <a:gd name="connsiteY0" fmla="*/ 692 h 232813"/>
                  <a:gd name="connsiteX1" fmla="*/ 280875 w 570048"/>
                  <a:gd name="connsiteY1" fmla="*/ 0 h 232813"/>
                  <a:gd name="connsiteX2" fmla="*/ 570049 w 570048"/>
                  <a:gd name="connsiteY2" fmla="*/ 576 h 232813"/>
                  <a:gd name="connsiteX3" fmla="*/ 502510 w 570048"/>
                  <a:gd name="connsiteY3" fmla="*/ 130037 h 232813"/>
                  <a:gd name="connsiteX4" fmla="*/ 460096 w 570048"/>
                  <a:gd name="connsiteY4" fmla="*/ 194018 h 232813"/>
                  <a:gd name="connsiteX5" fmla="*/ 319947 w 570048"/>
                  <a:gd name="connsiteY5" fmla="*/ 215461 h 232813"/>
                  <a:gd name="connsiteX6" fmla="*/ 19823 w 570048"/>
                  <a:gd name="connsiteY6" fmla="*/ 19713 h 232813"/>
                  <a:gd name="connsiteX7" fmla="*/ 115 w 570048"/>
                  <a:gd name="connsiteY7" fmla="*/ 692 h 23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0048" h="232813">
                    <a:moveTo>
                      <a:pt x="0" y="692"/>
                    </a:moveTo>
                    <a:cubicBezTo>
                      <a:pt x="93587" y="461"/>
                      <a:pt x="187289" y="0"/>
                      <a:pt x="280875" y="0"/>
                    </a:cubicBezTo>
                    <a:cubicBezTo>
                      <a:pt x="377228" y="0"/>
                      <a:pt x="473696" y="346"/>
                      <a:pt x="570049" y="576"/>
                    </a:cubicBezTo>
                    <a:cubicBezTo>
                      <a:pt x="547690" y="43807"/>
                      <a:pt x="526022" y="87383"/>
                      <a:pt x="502510" y="130037"/>
                    </a:cubicBezTo>
                    <a:cubicBezTo>
                      <a:pt x="490178" y="152402"/>
                      <a:pt x="477038" y="175228"/>
                      <a:pt x="460096" y="194018"/>
                    </a:cubicBezTo>
                    <a:cubicBezTo>
                      <a:pt x="421371" y="236903"/>
                      <a:pt x="370082" y="244512"/>
                      <a:pt x="319947" y="215461"/>
                    </a:cubicBezTo>
                    <a:cubicBezTo>
                      <a:pt x="216563" y="155399"/>
                      <a:pt x="113872" y="94070"/>
                      <a:pt x="19823" y="19713"/>
                    </a:cubicBezTo>
                    <a:cubicBezTo>
                      <a:pt x="12678" y="14064"/>
                      <a:pt x="6570" y="7032"/>
                      <a:pt x="115" y="69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2" name="Freeform 321">
                <a:extLst>
                  <a:ext uri="{FF2B5EF4-FFF2-40B4-BE49-F238E27FC236}">
                    <a16:creationId xmlns:a16="http://schemas.microsoft.com/office/drawing/2014/main" id="{870333C1-9CE2-7AFD-A662-27E225298B36}"/>
                  </a:ext>
                </a:extLst>
              </p:cNvPr>
              <p:cNvSpPr/>
              <p:nvPr/>
            </p:nvSpPr>
            <p:spPr>
              <a:xfrm>
                <a:off x="6734634" y="5699793"/>
                <a:ext cx="294217" cy="296764"/>
              </a:xfrm>
              <a:custGeom>
                <a:avLst/>
                <a:gdLst>
                  <a:gd name="connsiteX0" fmla="*/ 179050 w 294217"/>
                  <a:gd name="connsiteY0" fmla="*/ 322 h 296764"/>
                  <a:gd name="connsiteX1" fmla="*/ 290962 w 294217"/>
                  <a:gd name="connsiteY1" fmla="*/ 158373 h 296764"/>
                  <a:gd name="connsiteX2" fmla="*/ 200487 w 294217"/>
                  <a:gd name="connsiteY2" fmla="*/ 281954 h 296764"/>
                  <a:gd name="connsiteX3" fmla="*/ 114738 w 294217"/>
                  <a:gd name="connsiteY3" fmla="*/ 291523 h 296764"/>
                  <a:gd name="connsiteX4" fmla="*/ 1442 w 294217"/>
                  <a:gd name="connsiteY4" fmla="*/ 166212 h 296764"/>
                  <a:gd name="connsiteX5" fmla="*/ 19653 w 294217"/>
                  <a:gd name="connsiteY5" fmla="*/ 84362 h 296764"/>
                  <a:gd name="connsiteX6" fmla="*/ 179050 w 294217"/>
                  <a:gd name="connsiteY6" fmla="*/ 437 h 296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4217" h="296764">
                    <a:moveTo>
                      <a:pt x="179050" y="322"/>
                    </a:moveTo>
                    <a:cubicBezTo>
                      <a:pt x="247281" y="-5672"/>
                      <a:pt x="309287" y="72949"/>
                      <a:pt x="290962" y="158373"/>
                    </a:cubicBezTo>
                    <a:cubicBezTo>
                      <a:pt x="279437" y="212325"/>
                      <a:pt x="247165" y="253249"/>
                      <a:pt x="200487" y="281954"/>
                    </a:cubicBezTo>
                    <a:cubicBezTo>
                      <a:pt x="173863" y="298324"/>
                      <a:pt x="142860" y="300514"/>
                      <a:pt x="114738" y="291523"/>
                    </a:cubicBezTo>
                    <a:cubicBezTo>
                      <a:pt x="47083" y="270081"/>
                      <a:pt x="11470" y="231346"/>
                      <a:pt x="1442" y="166212"/>
                    </a:cubicBezTo>
                    <a:cubicBezTo>
                      <a:pt x="-3052" y="137046"/>
                      <a:pt x="2941" y="108456"/>
                      <a:pt x="19653" y="84362"/>
                    </a:cubicBezTo>
                    <a:cubicBezTo>
                      <a:pt x="55036" y="33177"/>
                      <a:pt x="102751" y="1821"/>
                      <a:pt x="179050" y="437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3" name="Freeform 322">
                <a:extLst>
                  <a:ext uri="{FF2B5EF4-FFF2-40B4-BE49-F238E27FC236}">
                    <a16:creationId xmlns:a16="http://schemas.microsoft.com/office/drawing/2014/main" id="{F382198B-7A00-5138-A13A-4EBAEAA549A8}"/>
                  </a:ext>
                </a:extLst>
              </p:cNvPr>
              <p:cNvSpPr/>
              <p:nvPr/>
            </p:nvSpPr>
            <p:spPr>
              <a:xfrm>
                <a:off x="5838323" y="3968933"/>
                <a:ext cx="243587" cy="240146"/>
              </a:xfrm>
              <a:custGeom>
                <a:avLst/>
                <a:gdLst>
                  <a:gd name="connsiteX0" fmla="*/ 116096 w 243587"/>
                  <a:gd name="connsiteY0" fmla="*/ 240018 h 240146"/>
                  <a:gd name="connsiteX1" fmla="*/ 35 w 243587"/>
                  <a:gd name="connsiteY1" fmla="*/ 117128 h 240146"/>
                  <a:gd name="connsiteX2" fmla="*/ 119324 w 243587"/>
                  <a:gd name="connsiteY2" fmla="*/ 2 h 240146"/>
                  <a:gd name="connsiteX3" fmla="*/ 243568 w 243587"/>
                  <a:gd name="connsiteY3" fmla="*/ 117243 h 240146"/>
                  <a:gd name="connsiteX4" fmla="*/ 116212 w 243587"/>
                  <a:gd name="connsiteY4" fmla="*/ 240133 h 240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3587" h="240146">
                    <a:moveTo>
                      <a:pt x="116096" y="240018"/>
                    </a:moveTo>
                    <a:cubicBezTo>
                      <a:pt x="52706" y="240018"/>
                      <a:pt x="2456" y="183991"/>
                      <a:pt x="35" y="117128"/>
                    </a:cubicBezTo>
                    <a:cubicBezTo>
                      <a:pt x="-1809" y="65021"/>
                      <a:pt x="69073" y="463"/>
                      <a:pt x="119324" y="2"/>
                    </a:cubicBezTo>
                    <a:cubicBezTo>
                      <a:pt x="173148" y="-459"/>
                      <a:pt x="244951" y="68940"/>
                      <a:pt x="243568" y="117243"/>
                    </a:cubicBezTo>
                    <a:cubicBezTo>
                      <a:pt x="241609" y="180648"/>
                      <a:pt x="187785" y="241171"/>
                      <a:pt x="116212" y="24013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4" name="Freeform 323">
                <a:extLst>
                  <a:ext uri="{FF2B5EF4-FFF2-40B4-BE49-F238E27FC236}">
                    <a16:creationId xmlns:a16="http://schemas.microsoft.com/office/drawing/2014/main" id="{1CF0B1C0-D825-95E6-14EE-0A4C42E3606D}"/>
                  </a:ext>
                </a:extLst>
              </p:cNvPr>
              <p:cNvSpPr/>
              <p:nvPr/>
            </p:nvSpPr>
            <p:spPr>
              <a:xfrm>
                <a:off x="5091277" y="5690066"/>
                <a:ext cx="178613" cy="181244"/>
              </a:xfrm>
              <a:custGeom>
                <a:avLst/>
                <a:gdLst>
                  <a:gd name="connsiteX0" fmla="*/ 178300 w 178613"/>
                  <a:gd name="connsiteY0" fmla="*/ 88095 h 181244"/>
                  <a:gd name="connsiteX1" fmla="*/ 87710 w 178613"/>
                  <a:gd name="connsiteY1" fmla="*/ 181242 h 181244"/>
                  <a:gd name="connsiteX2" fmla="*/ 1 w 178613"/>
                  <a:gd name="connsiteY2" fmla="*/ 91784 h 181244"/>
                  <a:gd name="connsiteX3" fmla="*/ 91398 w 178613"/>
                  <a:gd name="connsiteY3" fmla="*/ 20 h 181244"/>
                  <a:gd name="connsiteX4" fmla="*/ 178300 w 178613"/>
                  <a:gd name="connsiteY4" fmla="*/ 88210 h 181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613" h="181244">
                    <a:moveTo>
                      <a:pt x="178300" y="88095"/>
                    </a:moveTo>
                    <a:cubicBezTo>
                      <a:pt x="182910" y="131671"/>
                      <a:pt x="136001" y="180781"/>
                      <a:pt x="87710" y="181242"/>
                    </a:cubicBezTo>
                    <a:cubicBezTo>
                      <a:pt x="50367" y="181588"/>
                      <a:pt x="231" y="143199"/>
                      <a:pt x="1" y="91784"/>
                    </a:cubicBezTo>
                    <a:cubicBezTo>
                      <a:pt x="-230" y="47977"/>
                      <a:pt x="43682" y="-1133"/>
                      <a:pt x="91398" y="20"/>
                    </a:cubicBezTo>
                    <a:cubicBezTo>
                      <a:pt x="138767" y="1173"/>
                      <a:pt x="178184" y="39907"/>
                      <a:pt x="178300" y="8821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  <p:grpSp>
          <p:nvGrpSpPr>
            <p:cNvPr id="325" name="Group 324">
              <a:extLst>
                <a:ext uri="{FF2B5EF4-FFF2-40B4-BE49-F238E27FC236}">
                  <a16:creationId xmlns:a16="http://schemas.microsoft.com/office/drawing/2014/main" id="{F5BFF4D9-71A1-484B-1F01-75236E7383BF}"/>
                </a:ext>
              </a:extLst>
            </p:cNvPr>
            <p:cNvGrpSpPr/>
            <p:nvPr userDrawn="1"/>
          </p:nvGrpSpPr>
          <p:grpSpPr>
            <a:xfrm>
              <a:off x="4441587" y="3374"/>
              <a:ext cx="7303455" cy="6853473"/>
              <a:chOff x="4441587" y="3374"/>
              <a:chExt cx="7303455" cy="6853473"/>
            </a:xfrm>
            <a:solidFill>
              <a:srgbClr val="FCCCA2"/>
            </a:solidFill>
          </p:grpSpPr>
          <p:sp>
            <p:nvSpPr>
              <p:cNvPr id="326" name="Freeform 325">
                <a:extLst>
                  <a:ext uri="{FF2B5EF4-FFF2-40B4-BE49-F238E27FC236}">
                    <a16:creationId xmlns:a16="http://schemas.microsoft.com/office/drawing/2014/main" id="{422EC3BE-F306-BE9B-16CF-E4EF547AADBF}"/>
                  </a:ext>
                </a:extLst>
              </p:cNvPr>
              <p:cNvSpPr/>
              <p:nvPr/>
            </p:nvSpPr>
            <p:spPr>
              <a:xfrm>
                <a:off x="11274907" y="509313"/>
                <a:ext cx="470135" cy="463578"/>
              </a:xfrm>
              <a:custGeom>
                <a:avLst/>
                <a:gdLst>
                  <a:gd name="connsiteX0" fmla="*/ 230175 w 470135"/>
                  <a:gd name="connsiteY0" fmla="*/ 30 h 463578"/>
                  <a:gd name="connsiteX1" fmla="*/ 469905 w 470135"/>
                  <a:gd name="connsiteY1" fmla="*/ 226788 h 463578"/>
                  <a:gd name="connsiteX2" fmla="*/ 462644 w 470135"/>
                  <a:gd name="connsiteY2" fmla="*/ 306102 h 463578"/>
                  <a:gd name="connsiteX3" fmla="*/ 289186 w 470135"/>
                  <a:gd name="connsiteY3" fmla="*/ 458619 h 463578"/>
                  <a:gd name="connsiteX4" fmla="*/ 171280 w 470135"/>
                  <a:gd name="connsiteY4" fmla="*/ 456314 h 463578"/>
                  <a:gd name="connsiteX5" fmla="*/ 43578 w 470135"/>
                  <a:gd name="connsiteY5" fmla="*/ 366855 h 463578"/>
                  <a:gd name="connsiteX6" fmla="*/ 1394 w 470135"/>
                  <a:gd name="connsiteY6" fmla="*/ 253764 h 463578"/>
                  <a:gd name="connsiteX7" fmla="*/ 934 w 470135"/>
                  <a:gd name="connsiteY7" fmla="*/ 229094 h 463578"/>
                  <a:gd name="connsiteX8" fmla="*/ 78961 w 470135"/>
                  <a:gd name="connsiteY8" fmla="*/ 64126 h 463578"/>
                  <a:gd name="connsiteX9" fmla="*/ 230175 w 470135"/>
                  <a:gd name="connsiteY9" fmla="*/ 30 h 463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0135" h="463578">
                    <a:moveTo>
                      <a:pt x="230175" y="30"/>
                    </a:moveTo>
                    <a:cubicBezTo>
                      <a:pt x="368826" y="-662"/>
                      <a:pt x="464833" y="91448"/>
                      <a:pt x="469905" y="226788"/>
                    </a:cubicBezTo>
                    <a:cubicBezTo>
                      <a:pt x="470827" y="253188"/>
                      <a:pt x="469098" y="280625"/>
                      <a:pt x="462644" y="306102"/>
                    </a:cubicBezTo>
                    <a:cubicBezTo>
                      <a:pt x="439938" y="395791"/>
                      <a:pt x="377009" y="442249"/>
                      <a:pt x="289186" y="458619"/>
                    </a:cubicBezTo>
                    <a:cubicBezTo>
                      <a:pt x="249883" y="465997"/>
                      <a:pt x="210466" y="465075"/>
                      <a:pt x="171280" y="456314"/>
                    </a:cubicBezTo>
                    <a:cubicBezTo>
                      <a:pt x="116304" y="443978"/>
                      <a:pt x="74005" y="413890"/>
                      <a:pt x="43578" y="366855"/>
                    </a:cubicBezTo>
                    <a:cubicBezTo>
                      <a:pt x="21334" y="332271"/>
                      <a:pt x="8310" y="294113"/>
                      <a:pt x="1394" y="253764"/>
                    </a:cubicBezTo>
                    <a:cubicBezTo>
                      <a:pt x="11" y="245694"/>
                      <a:pt x="-680" y="236933"/>
                      <a:pt x="934" y="229094"/>
                    </a:cubicBezTo>
                    <a:cubicBezTo>
                      <a:pt x="13381" y="167764"/>
                      <a:pt x="35164" y="110585"/>
                      <a:pt x="78961" y="64126"/>
                    </a:cubicBezTo>
                    <a:cubicBezTo>
                      <a:pt x="121144" y="19397"/>
                      <a:pt x="173816" y="-892"/>
                      <a:pt x="230175" y="3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7" name="Freeform 326">
                <a:extLst>
                  <a:ext uri="{FF2B5EF4-FFF2-40B4-BE49-F238E27FC236}">
                    <a16:creationId xmlns:a16="http://schemas.microsoft.com/office/drawing/2014/main" id="{006016BB-F32F-314C-23B6-38E1639BEB5B}"/>
                  </a:ext>
                </a:extLst>
              </p:cNvPr>
              <p:cNvSpPr/>
              <p:nvPr/>
            </p:nvSpPr>
            <p:spPr>
              <a:xfrm>
                <a:off x="7013668" y="1011784"/>
                <a:ext cx="452157" cy="452664"/>
              </a:xfrm>
              <a:custGeom>
                <a:avLst/>
                <a:gdLst>
                  <a:gd name="connsiteX0" fmla="*/ 247970 w 452157"/>
                  <a:gd name="connsiteY0" fmla="*/ 452665 h 452664"/>
                  <a:gd name="connsiteX1" fmla="*/ 202560 w 452157"/>
                  <a:gd name="connsiteY1" fmla="*/ 443557 h 452664"/>
                  <a:gd name="connsiteX2" fmla="*/ 173976 w 452157"/>
                  <a:gd name="connsiteY2" fmla="*/ 423729 h 452664"/>
                  <a:gd name="connsiteX3" fmla="*/ 22762 w 452157"/>
                  <a:gd name="connsiteY3" fmla="*/ 189823 h 452664"/>
                  <a:gd name="connsiteX4" fmla="*/ 6857 w 452157"/>
                  <a:gd name="connsiteY4" fmla="*/ 154547 h 452664"/>
                  <a:gd name="connsiteX5" fmla="*/ 37746 w 452157"/>
                  <a:gd name="connsiteY5" fmla="*/ 65665 h 452664"/>
                  <a:gd name="connsiteX6" fmla="*/ 191495 w 452157"/>
                  <a:gd name="connsiteY6" fmla="*/ 4681 h 452664"/>
                  <a:gd name="connsiteX7" fmla="*/ 292112 w 452157"/>
                  <a:gd name="connsiteY7" fmla="*/ 39266 h 452664"/>
                  <a:gd name="connsiteX8" fmla="*/ 349048 w 452157"/>
                  <a:gd name="connsiteY8" fmla="*/ 120654 h 452664"/>
                  <a:gd name="connsiteX9" fmla="*/ 437794 w 452157"/>
                  <a:gd name="connsiteY9" fmla="*/ 276745 h 452664"/>
                  <a:gd name="connsiteX10" fmla="*/ 448282 w 452157"/>
                  <a:gd name="connsiteY10" fmla="*/ 302223 h 452664"/>
                  <a:gd name="connsiteX11" fmla="*/ 419008 w 452157"/>
                  <a:gd name="connsiteY11" fmla="*/ 383842 h 452664"/>
                  <a:gd name="connsiteX12" fmla="*/ 294879 w 452157"/>
                  <a:gd name="connsiteY12" fmla="*/ 443788 h 452664"/>
                  <a:gd name="connsiteX13" fmla="*/ 248200 w 452157"/>
                  <a:gd name="connsiteY13" fmla="*/ 452549 h 452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52157" h="452664">
                    <a:moveTo>
                      <a:pt x="247970" y="452665"/>
                    </a:moveTo>
                    <a:cubicBezTo>
                      <a:pt x="232987" y="449898"/>
                      <a:pt x="217082" y="448745"/>
                      <a:pt x="202560" y="443557"/>
                    </a:cubicBezTo>
                    <a:cubicBezTo>
                      <a:pt x="191956" y="439753"/>
                      <a:pt x="180777" y="432606"/>
                      <a:pt x="173976" y="423729"/>
                    </a:cubicBezTo>
                    <a:cubicBezTo>
                      <a:pt x="116810" y="350180"/>
                      <a:pt x="63447" y="273979"/>
                      <a:pt x="22762" y="189823"/>
                    </a:cubicBezTo>
                    <a:cubicBezTo>
                      <a:pt x="17115" y="178180"/>
                      <a:pt x="11467" y="166652"/>
                      <a:pt x="6857" y="154547"/>
                    </a:cubicBezTo>
                    <a:cubicBezTo>
                      <a:pt x="-8011" y="116043"/>
                      <a:pt x="864" y="82957"/>
                      <a:pt x="37746" y="65665"/>
                    </a:cubicBezTo>
                    <a:cubicBezTo>
                      <a:pt x="87535" y="42263"/>
                      <a:pt x="139169" y="21743"/>
                      <a:pt x="191495" y="4681"/>
                    </a:cubicBezTo>
                    <a:cubicBezTo>
                      <a:pt x="231027" y="-8230"/>
                      <a:pt x="266526" y="6295"/>
                      <a:pt x="292112" y="39266"/>
                    </a:cubicBezTo>
                    <a:cubicBezTo>
                      <a:pt x="312397" y="65435"/>
                      <a:pt x="332106" y="92295"/>
                      <a:pt x="349048" y="120654"/>
                    </a:cubicBezTo>
                    <a:cubicBezTo>
                      <a:pt x="379821" y="171955"/>
                      <a:pt x="408519" y="224523"/>
                      <a:pt x="437794" y="276745"/>
                    </a:cubicBezTo>
                    <a:cubicBezTo>
                      <a:pt x="442289" y="284700"/>
                      <a:pt x="445631" y="293461"/>
                      <a:pt x="448282" y="302223"/>
                    </a:cubicBezTo>
                    <a:cubicBezTo>
                      <a:pt x="458194" y="335885"/>
                      <a:pt x="449320" y="366895"/>
                      <a:pt x="419008" y="383842"/>
                    </a:cubicBezTo>
                    <a:cubicBezTo>
                      <a:pt x="379014" y="406322"/>
                      <a:pt x="336946" y="425343"/>
                      <a:pt x="294879" y="443788"/>
                    </a:cubicBezTo>
                    <a:cubicBezTo>
                      <a:pt x="281048" y="449898"/>
                      <a:pt x="264451" y="449667"/>
                      <a:pt x="248200" y="45254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8" name="Freeform 327">
                <a:extLst>
                  <a:ext uri="{FF2B5EF4-FFF2-40B4-BE49-F238E27FC236}">
                    <a16:creationId xmlns:a16="http://schemas.microsoft.com/office/drawing/2014/main" id="{890D754A-CC05-8E0B-E5CA-A48847CFD91E}"/>
                  </a:ext>
                </a:extLst>
              </p:cNvPr>
              <p:cNvSpPr/>
              <p:nvPr/>
            </p:nvSpPr>
            <p:spPr>
              <a:xfrm>
                <a:off x="5140254" y="4346021"/>
                <a:ext cx="429896" cy="380585"/>
              </a:xfrm>
              <a:custGeom>
                <a:avLst/>
                <a:gdLst>
                  <a:gd name="connsiteX0" fmla="*/ 205506 w 429896"/>
                  <a:gd name="connsiteY0" fmla="*/ 0 h 380585"/>
                  <a:gd name="connsiteX1" fmla="*/ 396482 w 429896"/>
                  <a:gd name="connsiteY1" fmla="*/ 67901 h 380585"/>
                  <a:gd name="connsiteX2" fmla="*/ 429676 w 429896"/>
                  <a:gd name="connsiteY2" fmla="*/ 134648 h 380585"/>
                  <a:gd name="connsiteX3" fmla="*/ 395330 w 429896"/>
                  <a:gd name="connsiteY3" fmla="*/ 306187 h 380585"/>
                  <a:gd name="connsiteX4" fmla="*/ 336089 w 429896"/>
                  <a:gd name="connsiteY4" fmla="*/ 360485 h 380585"/>
                  <a:gd name="connsiteX5" fmla="*/ 142922 w 429896"/>
                  <a:gd name="connsiteY5" fmla="*/ 372704 h 380585"/>
                  <a:gd name="connsiteX6" fmla="*/ 88176 w 429896"/>
                  <a:gd name="connsiteY6" fmla="*/ 338351 h 380585"/>
                  <a:gd name="connsiteX7" fmla="*/ 20176 w 429896"/>
                  <a:gd name="connsiteY7" fmla="*/ 222032 h 380585"/>
                  <a:gd name="connsiteX8" fmla="*/ 4386 w 429896"/>
                  <a:gd name="connsiteY8" fmla="*/ 169233 h 380585"/>
                  <a:gd name="connsiteX9" fmla="*/ 67546 w 429896"/>
                  <a:gd name="connsiteY9" fmla="*/ 33316 h 380585"/>
                  <a:gd name="connsiteX10" fmla="*/ 205506 w 429896"/>
                  <a:gd name="connsiteY10" fmla="*/ 115 h 380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9896" h="380585">
                    <a:moveTo>
                      <a:pt x="205506" y="0"/>
                    </a:moveTo>
                    <a:cubicBezTo>
                      <a:pt x="277194" y="115"/>
                      <a:pt x="340930" y="21903"/>
                      <a:pt x="396482" y="67901"/>
                    </a:cubicBezTo>
                    <a:cubicBezTo>
                      <a:pt x="417689" y="85539"/>
                      <a:pt x="428754" y="106981"/>
                      <a:pt x="429676" y="134648"/>
                    </a:cubicBezTo>
                    <a:cubicBezTo>
                      <a:pt x="431635" y="194595"/>
                      <a:pt x="420571" y="251774"/>
                      <a:pt x="395330" y="306187"/>
                    </a:cubicBezTo>
                    <a:cubicBezTo>
                      <a:pt x="383113" y="332587"/>
                      <a:pt x="363750" y="351031"/>
                      <a:pt x="336089" y="360485"/>
                    </a:cubicBezTo>
                    <a:cubicBezTo>
                      <a:pt x="272814" y="382157"/>
                      <a:pt x="208502" y="386423"/>
                      <a:pt x="142922" y="372704"/>
                    </a:cubicBezTo>
                    <a:cubicBezTo>
                      <a:pt x="120332" y="367978"/>
                      <a:pt x="102583" y="356565"/>
                      <a:pt x="88176" y="338351"/>
                    </a:cubicBezTo>
                    <a:cubicBezTo>
                      <a:pt x="60170" y="302613"/>
                      <a:pt x="36657" y="264340"/>
                      <a:pt x="20176" y="222032"/>
                    </a:cubicBezTo>
                    <a:cubicBezTo>
                      <a:pt x="13491" y="204970"/>
                      <a:pt x="7383" y="187217"/>
                      <a:pt x="4386" y="169233"/>
                    </a:cubicBezTo>
                    <a:cubicBezTo>
                      <a:pt x="-10021" y="83348"/>
                      <a:pt x="11071" y="65941"/>
                      <a:pt x="67546" y="33316"/>
                    </a:cubicBezTo>
                    <a:cubicBezTo>
                      <a:pt x="107770" y="10145"/>
                      <a:pt x="152949" y="115"/>
                      <a:pt x="205506" y="11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29" name="Freeform 328">
                <a:extLst>
                  <a:ext uri="{FF2B5EF4-FFF2-40B4-BE49-F238E27FC236}">
                    <a16:creationId xmlns:a16="http://schemas.microsoft.com/office/drawing/2014/main" id="{44F1FAEC-A0FC-3902-60F2-84D1E4C389D5}"/>
                  </a:ext>
                </a:extLst>
              </p:cNvPr>
              <p:cNvSpPr/>
              <p:nvPr/>
            </p:nvSpPr>
            <p:spPr>
              <a:xfrm>
                <a:off x="7400980" y="3003606"/>
                <a:ext cx="362787" cy="329770"/>
              </a:xfrm>
              <a:custGeom>
                <a:avLst/>
                <a:gdLst>
                  <a:gd name="connsiteX0" fmla="*/ 2881 w 362787"/>
                  <a:gd name="connsiteY0" fmla="*/ 114438 h 329770"/>
                  <a:gd name="connsiteX1" fmla="*/ 3227 w 362787"/>
                  <a:gd name="connsiteY1" fmla="*/ 51033 h 329770"/>
                  <a:gd name="connsiteX2" fmla="*/ 80448 w 362787"/>
                  <a:gd name="connsiteY2" fmla="*/ 6420 h 329770"/>
                  <a:gd name="connsiteX3" fmla="*/ 102000 w 362787"/>
                  <a:gd name="connsiteY3" fmla="*/ 18639 h 329770"/>
                  <a:gd name="connsiteX4" fmla="*/ 324442 w 362787"/>
                  <a:gd name="connsiteY4" fmla="*/ 177036 h 329770"/>
                  <a:gd name="connsiteX5" fmla="*/ 353255 w 362787"/>
                  <a:gd name="connsiteY5" fmla="*/ 206317 h 329770"/>
                  <a:gd name="connsiteX6" fmla="*/ 347378 w 362787"/>
                  <a:gd name="connsiteY6" fmla="*/ 266264 h 329770"/>
                  <a:gd name="connsiteX7" fmla="*/ 287215 w 362787"/>
                  <a:gd name="connsiteY7" fmla="*/ 297851 h 329770"/>
                  <a:gd name="connsiteX8" fmla="*/ 99349 w 362787"/>
                  <a:gd name="connsiteY8" fmla="*/ 328285 h 329770"/>
                  <a:gd name="connsiteX9" fmla="*/ 14753 w 362787"/>
                  <a:gd name="connsiteY9" fmla="*/ 262690 h 329770"/>
                  <a:gd name="connsiteX10" fmla="*/ 0 w 362787"/>
                  <a:gd name="connsiteY10" fmla="*/ 114554 h 329770"/>
                  <a:gd name="connsiteX11" fmla="*/ 2881 w 362787"/>
                  <a:gd name="connsiteY11" fmla="*/ 114323 h 329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787" h="329770">
                    <a:moveTo>
                      <a:pt x="2881" y="114438"/>
                    </a:moveTo>
                    <a:cubicBezTo>
                      <a:pt x="2881" y="93342"/>
                      <a:pt x="1383" y="72015"/>
                      <a:pt x="3227" y="51033"/>
                    </a:cubicBezTo>
                    <a:cubicBezTo>
                      <a:pt x="7031" y="8034"/>
                      <a:pt x="40685" y="-10988"/>
                      <a:pt x="80448" y="6420"/>
                    </a:cubicBezTo>
                    <a:cubicBezTo>
                      <a:pt x="87939" y="9763"/>
                      <a:pt x="95315" y="13913"/>
                      <a:pt x="102000" y="18639"/>
                    </a:cubicBezTo>
                    <a:cubicBezTo>
                      <a:pt x="176339" y="71208"/>
                      <a:pt x="250679" y="123776"/>
                      <a:pt x="324442" y="177036"/>
                    </a:cubicBezTo>
                    <a:cubicBezTo>
                      <a:pt x="335391" y="184991"/>
                      <a:pt x="345418" y="195250"/>
                      <a:pt x="353255" y="206317"/>
                    </a:cubicBezTo>
                    <a:cubicBezTo>
                      <a:pt x="367893" y="227068"/>
                      <a:pt x="365472" y="248165"/>
                      <a:pt x="347378" y="266264"/>
                    </a:cubicBezTo>
                    <a:cubicBezTo>
                      <a:pt x="330781" y="282864"/>
                      <a:pt x="310611" y="294047"/>
                      <a:pt x="287215" y="297851"/>
                    </a:cubicBezTo>
                    <a:cubicBezTo>
                      <a:pt x="224631" y="308226"/>
                      <a:pt x="162048" y="318602"/>
                      <a:pt x="99349" y="328285"/>
                    </a:cubicBezTo>
                    <a:cubicBezTo>
                      <a:pt x="48868" y="336009"/>
                      <a:pt x="20054" y="313529"/>
                      <a:pt x="14753" y="262690"/>
                    </a:cubicBezTo>
                    <a:cubicBezTo>
                      <a:pt x="9566" y="213350"/>
                      <a:pt x="4841" y="164009"/>
                      <a:pt x="0" y="114554"/>
                    </a:cubicBezTo>
                    <a:cubicBezTo>
                      <a:pt x="922" y="114554"/>
                      <a:pt x="1959" y="114438"/>
                      <a:pt x="2881" y="114323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0" name="Freeform 329">
                <a:extLst>
                  <a:ext uri="{FF2B5EF4-FFF2-40B4-BE49-F238E27FC236}">
                    <a16:creationId xmlns:a16="http://schemas.microsoft.com/office/drawing/2014/main" id="{399F4C42-0BC1-CA55-6206-DCA596AF1900}"/>
                  </a:ext>
                </a:extLst>
              </p:cNvPr>
              <p:cNvSpPr/>
              <p:nvPr/>
            </p:nvSpPr>
            <p:spPr>
              <a:xfrm>
                <a:off x="5672665" y="6243712"/>
                <a:ext cx="290513" cy="403452"/>
              </a:xfrm>
              <a:custGeom>
                <a:avLst/>
                <a:gdLst>
                  <a:gd name="connsiteX0" fmla="*/ 290514 w 290513"/>
                  <a:gd name="connsiteY0" fmla="*/ 90104 h 403452"/>
                  <a:gd name="connsiteX1" fmla="*/ 259971 w 290513"/>
                  <a:gd name="connsiteY1" fmla="*/ 310407 h 403452"/>
                  <a:gd name="connsiteX2" fmla="*/ 234615 w 290513"/>
                  <a:gd name="connsiteY2" fmla="*/ 376924 h 403452"/>
                  <a:gd name="connsiteX3" fmla="*/ 164886 w 290513"/>
                  <a:gd name="connsiteY3" fmla="*/ 391449 h 403452"/>
                  <a:gd name="connsiteX4" fmla="*/ 132845 w 290513"/>
                  <a:gd name="connsiteY4" fmla="*/ 361361 h 403452"/>
                  <a:gd name="connsiteX5" fmla="*/ 23008 w 290513"/>
                  <a:gd name="connsiteY5" fmla="*/ 226712 h 403452"/>
                  <a:gd name="connsiteX6" fmla="*/ 6987 w 290513"/>
                  <a:gd name="connsiteY6" fmla="*/ 201120 h 403452"/>
                  <a:gd name="connsiteX7" fmla="*/ 18282 w 290513"/>
                  <a:gd name="connsiteY7" fmla="*/ 129876 h 403452"/>
                  <a:gd name="connsiteX8" fmla="*/ 45943 w 290513"/>
                  <a:gd name="connsiteY8" fmla="*/ 107281 h 403452"/>
                  <a:gd name="connsiteX9" fmla="*/ 183557 w 290513"/>
                  <a:gd name="connsiteY9" fmla="*/ 15402 h 403452"/>
                  <a:gd name="connsiteX10" fmla="*/ 200269 w 290513"/>
                  <a:gd name="connsiteY10" fmla="*/ 5718 h 403452"/>
                  <a:gd name="connsiteX11" fmla="*/ 279680 w 290513"/>
                  <a:gd name="connsiteY11" fmla="*/ 37766 h 403452"/>
                  <a:gd name="connsiteX12" fmla="*/ 290514 w 290513"/>
                  <a:gd name="connsiteY12" fmla="*/ 90219 h 40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0513" h="403452">
                    <a:moveTo>
                      <a:pt x="290514" y="90104"/>
                    </a:moveTo>
                    <a:cubicBezTo>
                      <a:pt x="280832" y="161348"/>
                      <a:pt x="271958" y="236166"/>
                      <a:pt x="259971" y="310407"/>
                    </a:cubicBezTo>
                    <a:cubicBezTo>
                      <a:pt x="256283" y="333463"/>
                      <a:pt x="246140" y="356289"/>
                      <a:pt x="234615" y="376924"/>
                    </a:cubicBezTo>
                    <a:cubicBezTo>
                      <a:pt x="217903" y="406782"/>
                      <a:pt x="192662" y="411163"/>
                      <a:pt x="164886" y="391449"/>
                    </a:cubicBezTo>
                    <a:cubicBezTo>
                      <a:pt x="153015" y="383034"/>
                      <a:pt x="142181" y="372544"/>
                      <a:pt x="132845" y="361361"/>
                    </a:cubicBezTo>
                    <a:cubicBezTo>
                      <a:pt x="95733" y="316863"/>
                      <a:pt x="59313" y="271787"/>
                      <a:pt x="23008" y="226712"/>
                    </a:cubicBezTo>
                    <a:cubicBezTo>
                      <a:pt x="16784" y="218873"/>
                      <a:pt x="11136" y="210227"/>
                      <a:pt x="6987" y="201120"/>
                    </a:cubicBezTo>
                    <a:cubicBezTo>
                      <a:pt x="-4999" y="175067"/>
                      <a:pt x="-1772" y="150742"/>
                      <a:pt x="18282" y="129876"/>
                    </a:cubicBezTo>
                    <a:cubicBezTo>
                      <a:pt x="26465" y="121345"/>
                      <a:pt x="36146" y="113967"/>
                      <a:pt x="45943" y="107281"/>
                    </a:cubicBezTo>
                    <a:cubicBezTo>
                      <a:pt x="91584" y="76386"/>
                      <a:pt x="137571" y="45836"/>
                      <a:pt x="183557" y="15402"/>
                    </a:cubicBezTo>
                    <a:cubicBezTo>
                      <a:pt x="188859" y="11828"/>
                      <a:pt x="194391" y="8370"/>
                      <a:pt x="200269" y="5718"/>
                    </a:cubicBezTo>
                    <a:cubicBezTo>
                      <a:pt x="232079" y="-8692"/>
                      <a:pt x="267463" y="4911"/>
                      <a:pt x="279680" y="37766"/>
                    </a:cubicBezTo>
                    <a:cubicBezTo>
                      <a:pt x="285327" y="52983"/>
                      <a:pt x="286480" y="69815"/>
                      <a:pt x="290514" y="9021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1" name="Freeform 330">
                <a:extLst>
                  <a:ext uri="{FF2B5EF4-FFF2-40B4-BE49-F238E27FC236}">
                    <a16:creationId xmlns:a16="http://schemas.microsoft.com/office/drawing/2014/main" id="{D3CB8787-4649-EADF-8286-495BEAC4CCAC}"/>
                  </a:ext>
                </a:extLst>
              </p:cNvPr>
              <p:cNvSpPr/>
              <p:nvPr/>
            </p:nvSpPr>
            <p:spPr>
              <a:xfrm>
                <a:off x="8585221" y="3891668"/>
                <a:ext cx="311707" cy="309000"/>
              </a:xfrm>
              <a:custGeom>
                <a:avLst/>
                <a:gdLst>
                  <a:gd name="connsiteX0" fmla="*/ 115 w 311707"/>
                  <a:gd name="connsiteY0" fmla="*/ 153699 h 309000"/>
                  <a:gd name="connsiteX1" fmla="*/ 39763 w 311707"/>
                  <a:gd name="connsiteY1" fmla="*/ 48794 h 309000"/>
                  <a:gd name="connsiteX2" fmla="*/ 49675 w 311707"/>
                  <a:gd name="connsiteY2" fmla="*/ 39341 h 309000"/>
                  <a:gd name="connsiteX3" fmla="*/ 149024 w 311707"/>
                  <a:gd name="connsiteY3" fmla="*/ 721 h 309000"/>
                  <a:gd name="connsiteX4" fmla="*/ 304042 w 311707"/>
                  <a:gd name="connsiteY4" fmla="*/ 196008 h 309000"/>
                  <a:gd name="connsiteX5" fmla="*/ 291594 w 311707"/>
                  <a:gd name="connsiteY5" fmla="*/ 223560 h 309000"/>
                  <a:gd name="connsiteX6" fmla="*/ 150983 w 311707"/>
                  <a:gd name="connsiteY6" fmla="*/ 308292 h 309000"/>
                  <a:gd name="connsiteX7" fmla="*/ 8990 w 311707"/>
                  <a:gd name="connsiteY7" fmla="*/ 196354 h 309000"/>
                  <a:gd name="connsiteX8" fmla="*/ 0 w 311707"/>
                  <a:gd name="connsiteY8" fmla="*/ 153469 h 309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1707" h="309000">
                    <a:moveTo>
                      <a:pt x="115" y="153699"/>
                    </a:moveTo>
                    <a:cubicBezTo>
                      <a:pt x="1498" y="113697"/>
                      <a:pt x="17519" y="80150"/>
                      <a:pt x="39763" y="48794"/>
                    </a:cubicBezTo>
                    <a:cubicBezTo>
                      <a:pt x="42298" y="45105"/>
                      <a:pt x="45871" y="41761"/>
                      <a:pt x="49675" y="39341"/>
                    </a:cubicBezTo>
                    <a:cubicBezTo>
                      <a:pt x="80217" y="19858"/>
                      <a:pt x="112373" y="4410"/>
                      <a:pt x="149024" y="721"/>
                    </a:cubicBezTo>
                    <a:cubicBezTo>
                      <a:pt x="254021" y="-9769"/>
                      <a:pt x="338042" y="96059"/>
                      <a:pt x="304042" y="196008"/>
                    </a:cubicBezTo>
                    <a:cubicBezTo>
                      <a:pt x="300814" y="205576"/>
                      <a:pt x="296781" y="215029"/>
                      <a:pt x="291594" y="223560"/>
                    </a:cubicBezTo>
                    <a:cubicBezTo>
                      <a:pt x="259669" y="276359"/>
                      <a:pt x="216218" y="314747"/>
                      <a:pt x="150983" y="308292"/>
                    </a:cubicBezTo>
                    <a:cubicBezTo>
                      <a:pt x="82061" y="301490"/>
                      <a:pt x="35268" y="259874"/>
                      <a:pt x="8990" y="196354"/>
                    </a:cubicBezTo>
                    <a:cubicBezTo>
                      <a:pt x="3457" y="183096"/>
                      <a:pt x="2881" y="167879"/>
                      <a:pt x="0" y="15346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2" name="Freeform 331">
                <a:extLst>
                  <a:ext uri="{FF2B5EF4-FFF2-40B4-BE49-F238E27FC236}">
                    <a16:creationId xmlns:a16="http://schemas.microsoft.com/office/drawing/2014/main" id="{24E910A5-FC98-B6A9-4804-383BAF66BE16}"/>
                  </a:ext>
                </a:extLst>
              </p:cNvPr>
              <p:cNvSpPr/>
              <p:nvPr/>
            </p:nvSpPr>
            <p:spPr>
              <a:xfrm>
                <a:off x="10964792" y="1907662"/>
                <a:ext cx="310126" cy="309242"/>
              </a:xfrm>
              <a:custGeom>
                <a:avLst/>
                <a:gdLst>
                  <a:gd name="connsiteX0" fmla="*/ 162600 w 310126"/>
                  <a:gd name="connsiteY0" fmla="*/ 159 h 309242"/>
                  <a:gd name="connsiteX1" fmla="*/ 310126 w 310126"/>
                  <a:gd name="connsiteY1" fmla="*/ 148872 h 309242"/>
                  <a:gd name="connsiteX2" fmla="*/ 157990 w 310126"/>
                  <a:gd name="connsiteY2" fmla="*/ 309228 h 309242"/>
                  <a:gd name="connsiteX3" fmla="*/ 92 w 310126"/>
                  <a:gd name="connsiteY3" fmla="*/ 153713 h 309242"/>
                  <a:gd name="connsiteX4" fmla="*/ 162716 w 310126"/>
                  <a:gd name="connsiteY4" fmla="*/ 159 h 309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126" h="309242">
                    <a:moveTo>
                      <a:pt x="162600" y="159"/>
                    </a:moveTo>
                    <a:cubicBezTo>
                      <a:pt x="240166" y="-3991"/>
                      <a:pt x="310011" y="73939"/>
                      <a:pt x="310126" y="148872"/>
                    </a:cubicBezTo>
                    <a:cubicBezTo>
                      <a:pt x="310126" y="229914"/>
                      <a:pt x="234058" y="310496"/>
                      <a:pt x="157990" y="309228"/>
                    </a:cubicBezTo>
                    <a:cubicBezTo>
                      <a:pt x="79501" y="307960"/>
                      <a:pt x="-3136" y="228877"/>
                      <a:pt x="92" y="153713"/>
                    </a:cubicBezTo>
                    <a:cubicBezTo>
                      <a:pt x="4241" y="57915"/>
                      <a:pt x="60600" y="6269"/>
                      <a:pt x="162716" y="15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3" name="Freeform 332">
                <a:extLst>
                  <a:ext uri="{FF2B5EF4-FFF2-40B4-BE49-F238E27FC236}">
                    <a16:creationId xmlns:a16="http://schemas.microsoft.com/office/drawing/2014/main" id="{7E1FE099-BE48-2B67-7A9A-C3E5F4D56739}"/>
                  </a:ext>
                </a:extLst>
              </p:cNvPr>
              <p:cNvSpPr/>
              <p:nvPr/>
            </p:nvSpPr>
            <p:spPr>
              <a:xfrm>
                <a:off x="8763175" y="2721192"/>
                <a:ext cx="265551" cy="361804"/>
              </a:xfrm>
              <a:custGeom>
                <a:avLst/>
                <a:gdLst>
                  <a:gd name="connsiteX0" fmla="*/ 0 w 265551"/>
                  <a:gd name="connsiteY0" fmla="*/ 92394 h 361804"/>
                  <a:gd name="connsiteX1" fmla="*/ 6915 w 265551"/>
                  <a:gd name="connsiteY1" fmla="*/ 40863 h 361804"/>
                  <a:gd name="connsiteX2" fmla="*/ 62814 w 265551"/>
                  <a:gd name="connsiteY2" fmla="*/ 169 h 361804"/>
                  <a:gd name="connsiteX3" fmla="*/ 92550 w 265551"/>
                  <a:gd name="connsiteY3" fmla="*/ 5472 h 361804"/>
                  <a:gd name="connsiteX4" fmla="*/ 232930 w 265551"/>
                  <a:gd name="connsiteY4" fmla="*/ 94584 h 361804"/>
                  <a:gd name="connsiteX5" fmla="*/ 257018 w 265551"/>
                  <a:gd name="connsiteY5" fmla="*/ 214246 h 361804"/>
                  <a:gd name="connsiteX6" fmla="*/ 180374 w 265551"/>
                  <a:gd name="connsiteY6" fmla="*/ 327107 h 361804"/>
                  <a:gd name="connsiteX7" fmla="*/ 138997 w 265551"/>
                  <a:gd name="connsiteY7" fmla="*/ 353967 h 361804"/>
                  <a:gd name="connsiteX8" fmla="*/ 45295 w 265551"/>
                  <a:gd name="connsiteY8" fmla="*/ 326069 h 361804"/>
                  <a:gd name="connsiteX9" fmla="*/ 15214 w 265551"/>
                  <a:gd name="connsiteY9" fmla="*/ 238109 h 361804"/>
                  <a:gd name="connsiteX10" fmla="*/ 0 w 265551"/>
                  <a:gd name="connsiteY10" fmla="*/ 92509 h 361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5551" h="361804">
                    <a:moveTo>
                      <a:pt x="0" y="92394"/>
                    </a:moveTo>
                    <a:cubicBezTo>
                      <a:pt x="2190" y="75217"/>
                      <a:pt x="2881" y="57579"/>
                      <a:pt x="6915" y="40863"/>
                    </a:cubicBezTo>
                    <a:cubicBezTo>
                      <a:pt x="14291" y="9852"/>
                      <a:pt x="30657" y="-1560"/>
                      <a:pt x="62814" y="169"/>
                    </a:cubicBezTo>
                    <a:cubicBezTo>
                      <a:pt x="72841" y="745"/>
                      <a:pt x="82983" y="2359"/>
                      <a:pt x="92550" y="5472"/>
                    </a:cubicBezTo>
                    <a:cubicBezTo>
                      <a:pt x="146834" y="23340"/>
                      <a:pt x="193974" y="52507"/>
                      <a:pt x="232930" y="94584"/>
                    </a:cubicBezTo>
                    <a:cubicBezTo>
                      <a:pt x="265316" y="129630"/>
                      <a:pt x="274076" y="168825"/>
                      <a:pt x="257018" y="214246"/>
                    </a:cubicBezTo>
                    <a:cubicBezTo>
                      <a:pt x="240536" y="258168"/>
                      <a:pt x="215642" y="296326"/>
                      <a:pt x="180374" y="327107"/>
                    </a:cubicBezTo>
                    <a:cubicBezTo>
                      <a:pt x="168041" y="337828"/>
                      <a:pt x="153865" y="347281"/>
                      <a:pt x="138997" y="353967"/>
                    </a:cubicBezTo>
                    <a:cubicBezTo>
                      <a:pt x="101885" y="370798"/>
                      <a:pt x="68001" y="360077"/>
                      <a:pt x="45295" y="326069"/>
                    </a:cubicBezTo>
                    <a:cubicBezTo>
                      <a:pt x="27546" y="299439"/>
                      <a:pt x="19363" y="269005"/>
                      <a:pt x="15214" y="238109"/>
                    </a:cubicBezTo>
                    <a:cubicBezTo>
                      <a:pt x="8875" y="189922"/>
                      <a:pt x="4956" y="141388"/>
                      <a:pt x="0" y="9250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4" name="Freeform 333">
                <a:extLst>
                  <a:ext uri="{FF2B5EF4-FFF2-40B4-BE49-F238E27FC236}">
                    <a16:creationId xmlns:a16="http://schemas.microsoft.com/office/drawing/2014/main" id="{2563C11E-DD47-2665-6251-B9F667D5C4A6}"/>
                  </a:ext>
                </a:extLst>
              </p:cNvPr>
              <p:cNvSpPr/>
              <p:nvPr/>
            </p:nvSpPr>
            <p:spPr>
              <a:xfrm>
                <a:off x="5586065" y="5804000"/>
                <a:ext cx="238037" cy="252401"/>
              </a:xfrm>
              <a:custGeom>
                <a:avLst/>
                <a:gdLst>
                  <a:gd name="connsiteX0" fmla="*/ 84368 w 238037"/>
                  <a:gd name="connsiteY0" fmla="*/ 233544 h 252401"/>
                  <a:gd name="connsiteX1" fmla="*/ 58781 w 238037"/>
                  <a:gd name="connsiteY1" fmla="*/ 217519 h 252401"/>
                  <a:gd name="connsiteX2" fmla="*/ 11527 w 238037"/>
                  <a:gd name="connsiteY2" fmla="*/ 73418 h 252401"/>
                  <a:gd name="connsiteX3" fmla="*/ 97276 w 238037"/>
                  <a:gd name="connsiteY3" fmla="*/ 675 h 252401"/>
                  <a:gd name="connsiteX4" fmla="*/ 212646 w 238037"/>
                  <a:gd name="connsiteY4" fmla="*/ 42407 h 252401"/>
                  <a:gd name="connsiteX5" fmla="*/ 223019 w 238037"/>
                  <a:gd name="connsiteY5" fmla="*/ 171291 h 252401"/>
                  <a:gd name="connsiteX6" fmla="*/ 202158 w 238037"/>
                  <a:gd name="connsiteY6" fmla="*/ 200458 h 252401"/>
                  <a:gd name="connsiteX7" fmla="*/ 175534 w 238037"/>
                  <a:gd name="connsiteY7" fmla="*/ 238155 h 252401"/>
                  <a:gd name="connsiteX8" fmla="*/ 112605 w 238037"/>
                  <a:gd name="connsiteY8" fmla="*/ 250951 h 252401"/>
                  <a:gd name="connsiteX9" fmla="*/ 84368 w 238037"/>
                  <a:gd name="connsiteY9" fmla="*/ 233428 h 252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8037" h="252401">
                    <a:moveTo>
                      <a:pt x="84368" y="233544"/>
                    </a:moveTo>
                    <a:cubicBezTo>
                      <a:pt x="75839" y="228240"/>
                      <a:pt x="67425" y="222707"/>
                      <a:pt x="58781" y="217519"/>
                    </a:cubicBezTo>
                    <a:cubicBezTo>
                      <a:pt x="3228" y="184318"/>
                      <a:pt x="-13945" y="132903"/>
                      <a:pt x="11527" y="73418"/>
                    </a:cubicBezTo>
                    <a:cubicBezTo>
                      <a:pt x="27893" y="35144"/>
                      <a:pt x="52327" y="4710"/>
                      <a:pt x="97276" y="675"/>
                    </a:cubicBezTo>
                    <a:cubicBezTo>
                      <a:pt x="141765" y="-3360"/>
                      <a:pt x="181181" y="10705"/>
                      <a:pt x="212646" y="42407"/>
                    </a:cubicBezTo>
                    <a:cubicBezTo>
                      <a:pt x="242266" y="72149"/>
                      <a:pt x="246300" y="132673"/>
                      <a:pt x="223019" y="171291"/>
                    </a:cubicBezTo>
                    <a:cubicBezTo>
                      <a:pt x="216910" y="181436"/>
                      <a:pt x="209188" y="190774"/>
                      <a:pt x="202158" y="200458"/>
                    </a:cubicBezTo>
                    <a:cubicBezTo>
                      <a:pt x="201927" y="219134"/>
                      <a:pt x="191439" y="230315"/>
                      <a:pt x="175534" y="238155"/>
                    </a:cubicBezTo>
                    <a:cubicBezTo>
                      <a:pt x="155595" y="248184"/>
                      <a:pt x="135195" y="255677"/>
                      <a:pt x="112605" y="250951"/>
                    </a:cubicBezTo>
                    <a:cubicBezTo>
                      <a:pt x="101425" y="248645"/>
                      <a:pt x="88402" y="247838"/>
                      <a:pt x="84368" y="23342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5" name="Freeform 334">
                <a:extLst>
                  <a:ext uri="{FF2B5EF4-FFF2-40B4-BE49-F238E27FC236}">
                    <a16:creationId xmlns:a16="http://schemas.microsoft.com/office/drawing/2014/main" id="{AA02061F-D059-5497-C73E-82967FF5FADD}"/>
                  </a:ext>
                </a:extLst>
              </p:cNvPr>
              <p:cNvSpPr/>
              <p:nvPr/>
            </p:nvSpPr>
            <p:spPr>
              <a:xfrm>
                <a:off x="9058111" y="1096236"/>
                <a:ext cx="235929" cy="237139"/>
              </a:xfrm>
              <a:custGeom>
                <a:avLst/>
                <a:gdLst>
                  <a:gd name="connsiteX0" fmla="*/ 129085 w 235929"/>
                  <a:gd name="connsiteY0" fmla="*/ 5 h 237139"/>
                  <a:gd name="connsiteX1" fmla="*/ 235926 w 235929"/>
                  <a:gd name="connsiteY1" fmla="*/ 127506 h 237139"/>
                  <a:gd name="connsiteX2" fmla="*/ 111682 w 235929"/>
                  <a:gd name="connsiteY2" fmla="*/ 237138 h 237139"/>
                  <a:gd name="connsiteX3" fmla="*/ 0 w 235929"/>
                  <a:gd name="connsiteY3" fmla="*/ 110214 h 237139"/>
                  <a:gd name="connsiteX4" fmla="*/ 129085 w 235929"/>
                  <a:gd name="connsiteY4" fmla="*/ 5 h 23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5929" h="237139">
                    <a:moveTo>
                      <a:pt x="129085" y="5"/>
                    </a:moveTo>
                    <a:cubicBezTo>
                      <a:pt x="188557" y="466"/>
                      <a:pt x="236387" y="57530"/>
                      <a:pt x="235926" y="127506"/>
                    </a:cubicBezTo>
                    <a:cubicBezTo>
                      <a:pt x="235581" y="190680"/>
                      <a:pt x="183255" y="236908"/>
                      <a:pt x="111682" y="237138"/>
                    </a:cubicBezTo>
                    <a:cubicBezTo>
                      <a:pt x="50251" y="237369"/>
                      <a:pt x="-115" y="180074"/>
                      <a:pt x="0" y="110214"/>
                    </a:cubicBezTo>
                    <a:cubicBezTo>
                      <a:pt x="115" y="51074"/>
                      <a:pt x="60624" y="-572"/>
                      <a:pt x="129085" y="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6" name="Freeform 335">
                <a:extLst>
                  <a:ext uri="{FF2B5EF4-FFF2-40B4-BE49-F238E27FC236}">
                    <a16:creationId xmlns:a16="http://schemas.microsoft.com/office/drawing/2014/main" id="{DCBC5ACE-E554-F2C3-40D9-F478B2C02960}"/>
                  </a:ext>
                </a:extLst>
              </p:cNvPr>
              <p:cNvSpPr/>
              <p:nvPr/>
            </p:nvSpPr>
            <p:spPr>
              <a:xfrm>
                <a:off x="6800502" y="2339656"/>
                <a:ext cx="236850" cy="238099"/>
              </a:xfrm>
              <a:custGeom>
                <a:avLst/>
                <a:gdLst>
                  <a:gd name="connsiteX0" fmla="*/ 111222 w 236850"/>
                  <a:gd name="connsiteY0" fmla="*/ 9 h 238099"/>
                  <a:gd name="connsiteX1" fmla="*/ 236850 w 236850"/>
                  <a:gd name="connsiteY1" fmla="*/ 111832 h 238099"/>
                  <a:gd name="connsiteX2" fmla="*/ 122287 w 236850"/>
                  <a:gd name="connsiteY2" fmla="*/ 238065 h 238099"/>
                  <a:gd name="connsiteX3" fmla="*/ 2 w 236850"/>
                  <a:gd name="connsiteY3" fmla="*/ 123129 h 238099"/>
                  <a:gd name="connsiteX4" fmla="*/ 111222 w 236850"/>
                  <a:gd name="connsiteY4" fmla="*/ 9 h 238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850" h="238099">
                    <a:moveTo>
                      <a:pt x="111222" y="9"/>
                    </a:moveTo>
                    <a:cubicBezTo>
                      <a:pt x="183948" y="1046"/>
                      <a:pt x="237080" y="48888"/>
                      <a:pt x="236850" y="111832"/>
                    </a:cubicBezTo>
                    <a:cubicBezTo>
                      <a:pt x="236619" y="185612"/>
                      <a:pt x="170579" y="239679"/>
                      <a:pt x="122287" y="238065"/>
                    </a:cubicBezTo>
                    <a:cubicBezTo>
                      <a:pt x="57514" y="235874"/>
                      <a:pt x="-344" y="182384"/>
                      <a:pt x="2" y="123129"/>
                    </a:cubicBezTo>
                    <a:cubicBezTo>
                      <a:pt x="463" y="54191"/>
                      <a:pt x="50137" y="-798"/>
                      <a:pt x="111222" y="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7" name="Freeform 336">
                <a:extLst>
                  <a:ext uri="{FF2B5EF4-FFF2-40B4-BE49-F238E27FC236}">
                    <a16:creationId xmlns:a16="http://schemas.microsoft.com/office/drawing/2014/main" id="{76BECA8B-813C-9273-C528-74064F68BBFB}"/>
                  </a:ext>
                </a:extLst>
              </p:cNvPr>
              <p:cNvSpPr/>
              <p:nvPr/>
            </p:nvSpPr>
            <p:spPr>
              <a:xfrm>
                <a:off x="6010150" y="5357896"/>
                <a:ext cx="382896" cy="384739"/>
              </a:xfrm>
              <a:custGeom>
                <a:avLst/>
                <a:gdLst>
                  <a:gd name="connsiteX0" fmla="*/ 202324 w 382896"/>
                  <a:gd name="connsiteY0" fmla="*/ 64 h 384739"/>
                  <a:gd name="connsiteX1" fmla="*/ 44080 w 382896"/>
                  <a:gd name="connsiteY1" fmla="*/ 76380 h 384739"/>
                  <a:gd name="connsiteX2" fmla="*/ 157721 w 382896"/>
                  <a:gd name="connsiteY2" fmla="*/ 382221 h 384739"/>
                  <a:gd name="connsiteX3" fmla="*/ 382813 w 382896"/>
                  <a:gd name="connsiteY3" fmla="*/ 186128 h 384739"/>
                  <a:gd name="connsiteX4" fmla="*/ 202324 w 382896"/>
                  <a:gd name="connsiteY4" fmla="*/ 64 h 384739"/>
                  <a:gd name="connsiteX5" fmla="*/ 188494 w 382896"/>
                  <a:gd name="connsiteY5" fmla="*/ 243999 h 384739"/>
                  <a:gd name="connsiteX6" fmla="*/ 138473 w 382896"/>
                  <a:gd name="connsiteY6" fmla="*/ 195696 h 384739"/>
                  <a:gd name="connsiteX7" fmla="*/ 192412 w 382896"/>
                  <a:gd name="connsiteY7" fmla="*/ 140361 h 384739"/>
                  <a:gd name="connsiteX8" fmla="*/ 242894 w 382896"/>
                  <a:gd name="connsiteY8" fmla="*/ 186474 h 384739"/>
                  <a:gd name="connsiteX9" fmla="*/ 188379 w 382896"/>
                  <a:gd name="connsiteY9" fmla="*/ 243999 h 384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896" h="384739">
                    <a:moveTo>
                      <a:pt x="202324" y="64"/>
                    </a:moveTo>
                    <a:cubicBezTo>
                      <a:pt x="135937" y="-1550"/>
                      <a:pt x="85110" y="27501"/>
                      <a:pt x="44080" y="76380"/>
                    </a:cubicBezTo>
                    <a:cubicBezTo>
                      <a:pt x="-49277" y="187742"/>
                      <a:pt x="13652" y="356744"/>
                      <a:pt x="157721" y="382221"/>
                    </a:cubicBezTo>
                    <a:cubicBezTo>
                      <a:pt x="269057" y="401934"/>
                      <a:pt x="382582" y="303023"/>
                      <a:pt x="382813" y="186128"/>
                    </a:cubicBezTo>
                    <a:cubicBezTo>
                      <a:pt x="386271" y="81683"/>
                      <a:pt x="282080" y="1908"/>
                      <a:pt x="202324" y="64"/>
                    </a:cubicBezTo>
                    <a:close/>
                    <a:moveTo>
                      <a:pt x="188494" y="243999"/>
                    </a:moveTo>
                    <a:cubicBezTo>
                      <a:pt x="169477" y="244345"/>
                      <a:pt x="139395" y="215179"/>
                      <a:pt x="138473" y="195696"/>
                    </a:cubicBezTo>
                    <a:cubicBezTo>
                      <a:pt x="137551" y="174830"/>
                      <a:pt x="170053" y="141399"/>
                      <a:pt x="192412" y="140361"/>
                    </a:cubicBezTo>
                    <a:cubicBezTo>
                      <a:pt x="213965" y="139324"/>
                      <a:pt x="242894" y="165839"/>
                      <a:pt x="242894" y="186474"/>
                    </a:cubicBezTo>
                    <a:cubicBezTo>
                      <a:pt x="242894" y="211490"/>
                      <a:pt x="212582" y="243538"/>
                      <a:pt x="188379" y="243999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8" name="Freeform 337">
                <a:extLst>
                  <a:ext uri="{FF2B5EF4-FFF2-40B4-BE49-F238E27FC236}">
                    <a16:creationId xmlns:a16="http://schemas.microsoft.com/office/drawing/2014/main" id="{FBDCE61D-0BD4-FD94-C206-22AA2BF77A53}"/>
                  </a:ext>
                </a:extLst>
              </p:cNvPr>
              <p:cNvSpPr/>
              <p:nvPr/>
            </p:nvSpPr>
            <p:spPr>
              <a:xfrm>
                <a:off x="5198271" y="5179087"/>
                <a:ext cx="247394" cy="247017"/>
              </a:xfrm>
              <a:custGeom>
                <a:avLst/>
                <a:gdLst>
                  <a:gd name="connsiteX0" fmla="*/ 228052 w 247394"/>
                  <a:gd name="connsiteY0" fmla="*/ 55983 h 247017"/>
                  <a:gd name="connsiteX1" fmla="*/ 21976 w 247394"/>
                  <a:gd name="connsiteY1" fmla="*/ 59211 h 247017"/>
                  <a:gd name="connsiteX2" fmla="*/ 27278 w 247394"/>
                  <a:gd name="connsiteY2" fmla="*/ 196857 h 247017"/>
                  <a:gd name="connsiteX3" fmla="*/ 99082 w 247394"/>
                  <a:gd name="connsiteY3" fmla="*/ 246082 h 247017"/>
                  <a:gd name="connsiteX4" fmla="*/ 112797 w 247394"/>
                  <a:gd name="connsiteY4" fmla="*/ 246313 h 247017"/>
                  <a:gd name="connsiteX5" fmla="*/ 243611 w 247394"/>
                  <a:gd name="connsiteY5" fmla="*/ 149822 h 247017"/>
                  <a:gd name="connsiteX6" fmla="*/ 237733 w 247394"/>
                  <a:gd name="connsiteY6" fmla="*/ 69241 h 247017"/>
                  <a:gd name="connsiteX7" fmla="*/ 228052 w 247394"/>
                  <a:gd name="connsiteY7" fmla="*/ 55868 h 247017"/>
                  <a:gd name="connsiteX8" fmla="*/ 120749 w 247394"/>
                  <a:gd name="connsiteY8" fmla="*/ 156278 h 247017"/>
                  <a:gd name="connsiteX9" fmla="*/ 91590 w 247394"/>
                  <a:gd name="connsiteY9" fmla="*/ 123884 h 247017"/>
                  <a:gd name="connsiteX10" fmla="*/ 127089 w 247394"/>
                  <a:gd name="connsiteY10" fmla="*/ 91259 h 247017"/>
                  <a:gd name="connsiteX11" fmla="*/ 157516 w 247394"/>
                  <a:gd name="connsiteY11" fmla="*/ 121233 h 247017"/>
                  <a:gd name="connsiteX12" fmla="*/ 120865 w 247394"/>
                  <a:gd name="connsiteY12" fmla="*/ 156278 h 247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7394" h="247017">
                    <a:moveTo>
                      <a:pt x="228052" y="55983"/>
                    </a:moveTo>
                    <a:cubicBezTo>
                      <a:pt x="172268" y="-19987"/>
                      <a:pt x="76031" y="-18373"/>
                      <a:pt x="21976" y="59211"/>
                    </a:cubicBezTo>
                    <a:cubicBezTo>
                      <a:pt x="-9143" y="103940"/>
                      <a:pt x="-7068" y="154434"/>
                      <a:pt x="27278" y="196857"/>
                    </a:cubicBezTo>
                    <a:cubicBezTo>
                      <a:pt x="46410" y="220490"/>
                      <a:pt x="70729" y="236053"/>
                      <a:pt x="99082" y="246082"/>
                    </a:cubicBezTo>
                    <a:cubicBezTo>
                      <a:pt x="103692" y="246082"/>
                      <a:pt x="108302" y="245736"/>
                      <a:pt x="112797" y="246313"/>
                    </a:cubicBezTo>
                    <a:cubicBezTo>
                      <a:pt x="160628" y="252769"/>
                      <a:pt x="225977" y="214380"/>
                      <a:pt x="243611" y="149822"/>
                    </a:cubicBezTo>
                    <a:cubicBezTo>
                      <a:pt x="251218" y="121809"/>
                      <a:pt x="246377" y="95640"/>
                      <a:pt x="237733" y="69241"/>
                    </a:cubicBezTo>
                    <a:cubicBezTo>
                      <a:pt x="234506" y="64745"/>
                      <a:pt x="231279" y="60364"/>
                      <a:pt x="228052" y="55868"/>
                    </a:cubicBezTo>
                    <a:close/>
                    <a:moveTo>
                      <a:pt x="120749" y="156278"/>
                    </a:moveTo>
                    <a:cubicBezTo>
                      <a:pt x="108417" y="155125"/>
                      <a:pt x="91129" y="135873"/>
                      <a:pt x="91590" y="123884"/>
                    </a:cubicBezTo>
                    <a:cubicBezTo>
                      <a:pt x="92051" y="109359"/>
                      <a:pt x="112336" y="90798"/>
                      <a:pt x="127089" y="91259"/>
                    </a:cubicBezTo>
                    <a:cubicBezTo>
                      <a:pt x="141956" y="91721"/>
                      <a:pt x="158092" y="107630"/>
                      <a:pt x="157516" y="121233"/>
                    </a:cubicBezTo>
                    <a:cubicBezTo>
                      <a:pt x="156824" y="137372"/>
                      <a:pt x="135502" y="157662"/>
                      <a:pt x="120865" y="156278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39" name="Freeform 338">
                <a:extLst>
                  <a:ext uri="{FF2B5EF4-FFF2-40B4-BE49-F238E27FC236}">
                    <a16:creationId xmlns:a16="http://schemas.microsoft.com/office/drawing/2014/main" id="{E577C9A1-CD72-04DF-18C5-36F22919831F}"/>
                  </a:ext>
                </a:extLst>
              </p:cNvPr>
              <p:cNvSpPr/>
              <p:nvPr/>
            </p:nvSpPr>
            <p:spPr>
              <a:xfrm>
                <a:off x="7161816" y="5280010"/>
                <a:ext cx="244700" cy="244196"/>
              </a:xfrm>
              <a:custGeom>
                <a:avLst/>
                <a:gdLst>
                  <a:gd name="connsiteX0" fmla="*/ 126675 w 244700"/>
                  <a:gd name="connsiteY0" fmla="*/ 20 h 244196"/>
                  <a:gd name="connsiteX1" fmla="*/ 11 w 244700"/>
                  <a:gd name="connsiteY1" fmla="*/ 121526 h 244196"/>
                  <a:gd name="connsiteX2" fmla="*/ 119069 w 244700"/>
                  <a:gd name="connsiteY2" fmla="*/ 244186 h 244196"/>
                  <a:gd name="connsiteX3" fmla="*/ 244696 w 244700"/>
                  <a:gd name="connsiteY3" fmla="*/ 118644 h 244196"/>
                  <a:gd name="connsiteX4" fmla="*/ 126675 w 244700"/>
                  <a:gd name="connsiteY4" fmla="*/ 20 h 244196"/>
                  <a:gd name="connsiteX5" fmla="*/ 122987 w 244700"/>
                  <a:gd name="connsiteY5" fmla="*/ 154382 h 244196"/>
                  <a:gd name="connsiteX6" fmla="*/ 90255 w 244700"/>
                  <a:gd name="connsiteY6" fmla="*/ 122679 h 244196"/>
                  <a:gd name="connsiteX7" fmla="*/ 122987 w 244700"/>
                  <a:gd name="connsiteY7" fmla="*/ 89939 h 244196"/>
                  <a:gd name="connsiteX8" fmla="*/ 154682 w 244700"/>
                  <a:gd name="connsiteY8" fmla="*/ 117837 h 244196"/>
                  <a:gd name="connsiteX9" fmla="*/ 122987 w 244700"/>
                  <a:gd name="connsiteY9" fmla="*/ 154382 h 244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4700" h="244196">
                    <a:moveTo>
                      <a:pt x="126675" y="20"/>
                    </a:moveTo>
                    <a:cubicBezTo>
                      <a:pt x="63401" y="-1248"/>
                      <a:pt x="1048" y="58698"/>
                      <a:pt x="11" y="121526"/>
                    </a:cubicBezTo>
                    <a:cubicBezTo>
                      <a:pt x="-911" y="182164"/>
                      <a:pt x="58445" y="243379"/>
                      <a:pt x="119069" y="244186"/>
                    </a:cubicBezTo>
                    <a:cubicBezTo>
                      <a:pt x="184072" y="245108"/>
                      <a:pt x="244005" y="185162"/>
                      <a:pt x="244696" y="118644"/>
                    </a:cubicBezTo>
                    <a:cubicBezTo>
                      <a:pt x="245272" y="56853"/>
                      <a:pt x="189950" y="1288"/>
                      <a:pt x="126675" y="20"/>
                    </a:cubicBezTo>
                    <a:close/>
                    <a:moveTo>
                      <a:pt x="122987" y="154382"/>
                    </a:moveTo>
                    <a:cubicBezTo>
                      <a:pt x="110425" y="155534"/>
                      <a:pt x="90024" y="135821"/>
                      <a:pt x="90255" y="122679"/>
                    </a:cubicBezTo>
                    <a:cubicBezTo>
                      <a:pt x="90370" y="110114"/>
                      <a:pt x="109502" y="90977"/>
                      <a:pt x="122987" y="89939"/>
                    </a:cubicBezTo>
                    <a:cubicBezTo>
                      <a:pt x="137740" y="88787"/>
                      <a:pt x="154106" y="103312"/>
                      <a:pt x="154682" y="117837"/>
                    </a:cubicBezTo>
                    <a:cubicBezTo>
                      <a:pt x="155259" y="133170"/>
                      <a:pt x="138086" y="152998"/>
                      <a:pt x="122987" y="154382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40" name="Freeform 339">
                <a:extLst>
                  <a:ext uri="{FF2B5EF4-FFF2-40B4-BE49-F238E27FC236}">
                    <a16:creationId xmlns:a16="http://schemas.microsoft.com/office/drawing/2014/main" id="{FC66E74D-989D-E4FE-C1E1-860A1A55EB2F}"/>
                  </a:ext>
                </a:extLst>
              </p:cNvPr>
              <p:cNvSpPr/>
              <p:nvPr/>
            </p:nvSpPr>
            <p:spPr>
              <a:xfrm>
                <a:off x="8597478" y="3374"/>
                <a:ext cx="450490" cy="295445"/>
              </a:xfrm>
              <a:custGeom>
                <a:avLst/>
                <a:gdLst>
                  <a:gd name="connsiteX0" fmla="*/ 44218 w 450490"/>
                  <a:gd name="connsiteY0" fmla="*/ 186525 h 295445"/>
                  <a:gd name="connsiteX1" fmla="*/ 255018 w 450490"/>
                  <a:gd name="connsiteY1" fmla="*/ 287050 h 295445"/>
                  <a:gd name="connsiteX2" fmla="*/ 325900 w 450490"/>
                  <a:gd name="connsiteY2" fmla="*/ 295351 h 295445"/>
                  <a:gd name="connsiteX3" fmla="*/ 400585 w 450490"/>
                  <a:gd name="connsiteY3" fmla="*/ 240707 h 295445"/>
                  <a:gd name="connsiteX4" fmla="*/ 439310 w 450490"/>
                  <a:gd name="connsiteY4" fmla="*/ 37928 h 295445"/>
                  <a:gd name="connsiteX5" fmla="*/ 450490 w 450490"/>
                  <a:gd name="connsiteY5" fmla="*/ 0 h 295445"/>
                  <a:gd name="connsiteX6" fmla="*/ 17363 w 450490"/>
                  <a:gd name="connsiteY6" fmla="*/ 0 h 295445"/>
                  <a:gd name="connsiteX7" fmla="*/ 21282 w 450490"/>
                  <a:gd name="connsiteY7" fmla="*/ 5418 h 295445"/>
                  <a:gd name="connsiteX8" fmla="*/ 3533 w 450490"/>
                  <a:gd name="connsiteY8" fmla="*/ 69169 h 295445"/>
                  <a:gd name="connsiteX9" fmla="*/ 44103 w 450490"/>
                  <a:gd name="connsiteY9" fmla="*/ 186525 h 295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0490" h="295445">
                    <a:moveTo>
                      <a:pt x="44218" y="186525"/>
                    </a:moveTo>
                    <a:cubicBezTo>
                      <a:pt x="109452" y="230563"/>
                      <a:pt x="178259" y="267568"/>
                      <a:pt x="255018" y="287050"/>
                    </a:cubicBezTo>
                    <a:cubicBezTo>
                      <a:pt x="277954" y="292930"/>
                      <a:pt x="302273" y="296042"/>
                      <a:pt x="325900" y="295351"/>
                    </a:cubicBezTo>
                    <a:cubicBezTo>
                      <a:pt x="361860" y="294198"/>
                      <a:pt x="389636" y="277367"/>
                      <a:pt x="400585" y="240707"/>
                    </a:cubicBezTo>
                    <a:cubicBezTo>
                      <a:pt x="420294" y="174421"/>
                      <a:pt x="437005" y="107557"/>
                      <a:pt x="439310" y="37928"/>
                    </a:cubicBezTo>
                    <a:cubicBezTo>
                      <a:pt x="440348" y="8646"/>
                      <a:pt x="438504" y="1499"/>
                      <a:pt x="450490" y="0"/>
                    </a:cubicBezTo>
                    <a:lnTo>
                      <a:pt x="17363" y="0"/>
                    </a:lnTo>
                    <a:cubicBezTo>
                      <a:pt x="19784" y="1038"/>
                      <a:pt x="21052" y="2882"/>
                      <a:pt x="21282" y="5418"/>
                    </a:cubicBezTo>
                    <a:cubicBezTo>
                      <a:pt x="15289" y="26630"/>
                      <a:pt x="7797" y="47611"/>
                      <a:pt x="3533" y="69169"/>
                    </a:cubicBezTo>
                    <a:cubicBezTo>
                      <a:pt x="-5688" y="115742"/>
                      <a:pt x="1574" y="157705"/>
                      <a:pt x="44103" y="186525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41" name="Freeform 340">
                <a:extLst>
                  <a:ext uri="{FF2B5EF4-FFF2-40B4-BE49-F238E27FC236}">
                    <a16:creationId xmlns:a16="http://schemas.microsoft.com/office/drawing/2014/main" id="{3D808C9A-51EC-78A4-CCF5-B6EA6C9AA5A9}"/>
                  </a:ext>
                </a:extLst>
              </p:cNvPr>
              <p:cNvSpPr/>
              <p:nvPr/>
            </p:nvSpPr>
            <p:spPr>
              <a:xfrm>
                <a:off x="5292096" y="6662879"/>
                <a:ext cx="245046" cy="193968"/>
              </a:xfrm>
              <a:custGeom>
                <a:avLst/>
                <a:gdLst>
                  <a:gd name="connsiteX0" fmla="*/ 204532 w 245046"/>
                  <a:gd name="connsiteY0" fmla="*/ 30730 h 193968"/>
                  <a:gd name="connsiteX1" fmla="*/ 68531 w 245046"/>
                  <a:gd name="connsiteY1" fmla="*/ 16089 h 193968"/>
                  <a:gd name="connsiteX2" fmla="*/ 9867 w 245046"/>
                  <a:gd name="connsiteY2" fmla="*/ 80531 h 193968"/>
                  <a:gd name="connsiteX3" fmla="*/ 21392 w 245046"/>
                  <a:gd name="connsiteY3" fmla="*/ 193968 h 193968"/>
                  <a:gd name="connsiteX4" fmla="*/ 227352 w 245046"/>
                  <a:gd name="connsiteY4" fmla="*/ 193968 h 193968"/>
                  <a:gd name="connsiteX5" fmla="*/ 204532 w 245046"/>
                  <a:gd name="connsiteY5" fmla="*/ 30845 h 193968"/>
                  <a:gd name="connsiteX6" fmla="*/ 121433 w 245046"/>
                  <a:gd name="connsiteY6" fmla="*/ 155580 h 193968"/>
                  <a:gd name="connsiteX7" fmla="*/ 91237 w 245046"/>
                  <a:gd name="connsiteY7" fmla="*/ 124684 h 193968"/>
                  <a:gd name="connsiteX8" fmla="*/ 126274 w 245046"/>
                  <a:gd name="connsiteY8" fmla="*/ 91022 h 193968"/>
                  <a:gd name="connsiteX9" fmla="*/ 157278 w 245046"/>
                  <a:gd name="connsiteY9" fmla="*/ 120534 h 193968"/>
                  <a:gd name="connsiteX10" fmla="*/ 121433 w 245046"/>
                  <a:gd name="connsiteY10" fmla="*/ 155580 h 19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5046" h="193968">
                    <a:moveTo>
                      <a:pt x="204532" y="30730"/>
                    </a:moveTo>
                    <a:cubicBezTo>
                      <a:pt x="163271" y="-4200"/>
                      <a:pt x="112559" y="-9734"/>
                      <a:pt x="68531" y="16089"/>
                    </a:cubicBezTo>
                    <a:cubicBezTo>
                      <a:pt x="42369" y="31421"/>
                      <a:pt x="22891" y="53094"/>
                      <a:pt x="9867" y="80531"/>
                    </a:cubicBezTo>
                    <a:cubicBezTo>
                      <a:pt x="-8228" y="118689"/>
                      <a:pt x="301" y="155349"/>
                      <a:pt x="21392" y="193968"/>
                    </a:cubicBezTo>
                    <a:lnTo>
                      <a:pt x="227352" y="193968"/>
                    </a:lnTo>
                    <a:cubicBezTo>
                      <a:pt x="256166" y="115577"/>
                      <a:pt x="250634" y="69926"/>
                      <a:pt x="204532" y="30845"/>
                    </a:cubicBezTo>
                    <a:close/>
                    <a:moveTo>
                      <a:pt x="121433" y="155580"/>
                    </a:moveTo>
                    <a:cubicBezTo>
                      <a:pt x="108525" y="154888"/>
                      <a:pt x="91006" y="136904"/>
                      <a:pt x="91237" y="124684"/>
                    </a:cubicBezTo>
                    <a:cubicBezTo>
                      <a:pt x="91582" y="111196"/>
                      <a:pt x="112559" y="90907"/>
                      <a:pt x="126274" y="91022"/>
                    </a:cubicBezTo>
                    <a:cubicBezTo>
                      <a:pt x="140105" y="91022"/>
                      <a:pt x="157393" y="107507"/>
                      <a:pt x="157278" y="120534"/>
                    </a:cubicBezTo>
                    <a:cubicBezTo>
                      <a:pt x="157162" y="137019"/>
                      <a:pt x="137223" y="156502"/>
                      <a:pt x="121433" y="155580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  <p:sp>
            <p:nvSpPr>
              <p:cNvPr id="342" name="Freeform 341">
                <a:extLst>
                  <a:ext uri="{FF2B5EF4-FFF2-40B4-BE49-F238E27FC236}">
                    <a16:creationId xmlns:a16="http://schemas.microsoft.com/office/drawing/2014/main" id="{97A201E5-7E91-BF07-B525-EFEC6FED0DD5}"/>
                  </a:ext>
                </a:extLst>
              </p:cNvPr>
              <p:cNvSpPr/>
              <p:nvPr/>
            </p:nvSpPr>
            <p:spPr>
              <a:xfrm>
                <a:off x="4441587" y="6706098"/>
                <a:ext cx="388638" cy="150749"/>
              </a:xfrm>
              <a:custGeom>
                <a:avLst/>
                <a:gdLst>
                  <a:gd name="connsiteX0" fmla="*/ 359940 w 388638"/>
                  <a:gd name="connsiteY0" fmla="*/ 130921 h 150749"/>
                  <a:gd name="connsiteX1" fmla="*/ 267621 w 388638"/>
                  <a:gd name="connsiteY1" fmla="*/ 26707 h 150749"/>
                  <a:gd name="connsiteX2" fmla="*/ 119519 w 388638"/>
                  <a:gd name="connsiteY2" fmla="*/ 28206 h 150749"/>
                  <a:gd name="connsiteX3" fmla="*/ 24780 w 388638"/>
                  <a:gd name="connsiteY3" fmla="*/ 131152 h 150749"/>
                  <a:gd name="connsiteX4" fmla="*/ 0 w 388638"/>
                  <a:gd name="connsiteY4" fmla="*/ 150750 h 150749"/>
                  <a:gd name="connsiteX5" fmla="*/ 388639 w 388638"/>
                  <a:gd name="connsiteY5" fmla="*/ 150750 h 150749"/>
                  <a:gd name="connsiteX6" fmla="*/ 359825 w 388638"/>
                  <a:gd name="connsiteY6" fmla="*/ 130806 h 150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8638" h="150749">
                    <a:moveTo>
                      <a:pt x="359940" y="130921"/>
                    </a:moveTo>
                    <a:cubicBezTo>
                      <a:pt x="340001" y="86999"/>
                      <a:pt x="307269" y="53567"/>
                      <a:pt x="267621" y="26707"/>
                    </a:cubicBezTo>
                    <a:cubicBezTo>
                      <a:pt x="214258" y="-9376"/>
                      <a:pt x="172767" y="-8915"/>
                      <a:pt x="119519" y="28206"/>
                    </a:cubicBezTo>
                    <a:cubicBezTo>
                      <a:pt x="80448" y="55527"/>
                      <a:pt x="48522" y="89881"/>
                      <a:pt x="24780" y="131152"/>
                    </a:cubicBezTo>
                    <a:cubicBezTo>
                      <a:pt x="18210" y="142565"/>
                      <a:pt x="10834" y="149251"/>
                      <a:pt x="0" y="150750"/>
                    </a:cubicBezTo>
                    <a:lnTo>
                      <a:pt x="388639" y="150750"/>
                    </a:lnTo>
                    <a:cubicBezTo>
                      <a:pt x="375269" y="149943"/>
                      <a:pt x="366510" y="145447"/>
                      <a:pt x="359825" y="130806"/>
                    </a:cubicBezTo>
                    <a:close/>
                  </a:path>
                </a:pathLst>
              </a:custGeom>
              <a:grpFill/>
              <a:ln w="115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b="0" i="0">
                  <a:latin typeface="Lato" panose="020F0502020204030203" pitchFamily="34" charset="7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00590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der (Turquois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B751F61-55E8-2A42-A611-7416B9B7E0B8}"/>
              </a:ext>
            </a:extLst>
          </p:cNvPr>
          <p:cNvSpPr/>
          <p:nvPr userDrawn="1"/>
        </p:nvSpPr>
        <p:spPr>
          <a:xfrm>
            <a:off x="8918602" y="-508000"/>
            <a:ext cx="864691" cy="864691"/>
          </a:xfrm>
          <a:prstGeom prst="ellipse">
            <a:avLst/>
          </a:prstGeom>
          <a:noFill/>
          <a:ln w="69850">
            <a:solidFill>
              <a:schemeClr val="bg2">
                <a:lumMod val="20000"/>
                <a:lumOff val="80000"/>
                <a:alpha val="30073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2092DAF-BDA0-834E-83CB-F98256DC7208}"/>
              </a:ext>
            </a:extLst>
          </p:cNvPr>
          <p:cNvSpPr/>
          <p:nvPr userDrawn="1"/>
        </p:nvSpPr>
        <p:spPr>
          <a:xfrm>
            <a:off x="11493137" y="748951"/>
            <a:ext cx="363900" cy="363900"/>
          </a:xfrm>
          <a:prstGeom prst="ellipse">
            <a:avLst/>
          </a:prstGeom>
          <a:noFill/>
          <a:ln w="136525">
            <a:solidFill>
              <a:schemeClr val="accent3">
                <a:alpha val="71372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0BDE14-1D56-BC48-A05E-F93722DBE2C3}"/>
              </a:ext>
            </a:extLst>
          </p:cNvPr>
          <p:cNvSpPr/>
          <p:nvPr userDrawn="1"/>
        </p:nvSpPr>
        <p:spPr>
          <a:xfrm>
            <a:off x="10819139" y="1952056"/>
            <a:ext cx="184430" cy="184430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536BDD5-E71A-D243-BB8D-2B093CB12609}"/>
              </a:ext>
            </a:extLst>
          </p:cNvPr>
          <p:cNvSpPr/>
          <p:nvPr userDrawn="1"/>
        </p:nvSpPr>
        <p:spPr>
          <a:xfrm>
            <a:off x="10464019" y="2299380"/>
            <a:ext cx="2422135" cy="2422135"/>
          </a:xfrm>
          <a:prstGeom prst="ellipse">
            <a:avLst/>
          </a:prstGeom>
          <a:solidFill>
            <a:schemeClr val="bg1">
              <a:lumMod val="95000"/>
              <a:alpha val="15366"/>
            </a:schemeClr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BCDEE1-530B-3940-B8E7-E5610FA755E7}"/>
              </a:ext>
            </a:extLst>
          </p:cNvPr>
          <p:cNvSpPr/>
          <p:nvPr userDrawn="1"/>
        </p:nvSpPr>
        <p:spPr>
          <a:xfrm>
            <a:off x="10722480" y="5098839"/>
            <a:ext cx="377747" cy="377747"/>
          </a:xfrm>
          <a:prstGeom prst="ellipse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E85011-3CFF-DE4C-AF57-8D5D2BD0A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.</a:t>
            </a:r>
          </a:p>
        </p:txBody>
      </p:sp>
    </p:spTree>
    <p:extLst>
      <p:ext uri="{BB962C8B-B14F-4D97-AF65-F5344CB8AC3E}">
        <p14:creationId xmlns:p14="http://schemas.microsoft.com/office/powerpoint/2010/main" val="18961397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(Quote +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A788079-B130-564C-8C52-3D64492B5BA7}"/>
              </a:ext>
            </a:extLst>
          </p:cNvPr>
          <p:cNvSpPr/>
          <p:nvPr userDrawn="1"/>
        </p:nvSpPr>
        <p:spPr>
          <a:xfrm>
            <a:off x="0" y="0"/>
            <a:ext cx="12192000" cy="6692535"/>
          </a:xfrm>
          <a:prstGeom prst="rect">
            <a:avLst/>
          </a:prstGeom>
          <a:solidFill>
            <a:srgbClr val="000000">
              <a:alpha val="653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412846" y="425831"/>
            <a:ext cx="2033516" cy="2047164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  <a:ln w="1270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algn="ctr">
              <a:defRPr sz="12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place an image</a:t>
            </a:r>
          </a:p>
        </p:txBody>
      </p:sp>
      <p:pic>
        <p:nvPicPr>
          <p:cNvPr id="19" name="Picture 18" descr="A picture containing icon&#10;&#10;Description automatically generated">
            <a:extLst>
              <a:ext uri="{FF2B5EF4-FFF2-40B4-BE49-F238E27FC236}">
                <a16:creationId xmlns:a16="http://schemas.microsoft.com/office/drawing/2014/main" id="{7AE8295D-1967-7C4D-B313-584ABECDF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1273" y="1807007"/>
            <a:ext cx="2171700" cy="2667000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059C87-0D6C-A144-BBA7-BC388DBE66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4703556"/>
            <a:ext cx="10535095" cy="1241425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defRPr sz="105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Role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EAE97EE-B8AE-994B-A95F-B71605AD93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804" y="6048679"/>
            <a:ext cx="815392" cy="4837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8D82D3-E81F-DD4E-A40C-DD635BF28B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973834"/>
            <a:ext cx="10515600" cy="1721456"/>
          </a:xfrm>
        </p:spPr>
        <p:txBody>
          <a:bodyPr/>
          <a:lstStyle/>
          <a:p>
            <a:r>
              <a:rPr lang="en-US"/>
              <a:t>Click to edit Master title style.</a:t>
            </a:r>
          </a:p>
        </p:txBody>
      </p:sp>
    </p:spTree>
    <p:extLst>
      <p:ext uri="{BB962C8B-B14F-4D97-AF65-F5344CB8AC3E}">
        <p14:creationId xmlns:p14="http://schemas.microsoft.com/office/powerpoint/2010/main" val="26934878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Slide (full background image)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7C2D4D3-EB39-3847-8386-7D50889C62B9}"/>
              </a:ext>
            </a:extLst>
          </p:cNvPr>
          <p:cNvSpPr/>
          <p:nvPr userDrawn="1"/>
        </p:nvSpPr>
        <p:spPr>
          <a:xfrm>
            <a:off x="-2" y="3635298"/>
            <a:ext cx="12192001" cy="3057237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67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4E10C8-7FE5-5142-AC48-A1903FC7FF0A}"/>
              </a:ext>
            </a:extLst>
          </p:cNvPr>
          <p:cNvSpPr/>
          <p:nvPr userDrawn="1"/>
        </p:nvSpPr>
        <p:spPr>
          <a:xfrm>
            <a:off x="0" y="0"/>
            <a:ext cx="12192000" cy="669253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64B4526-F15C-8649-9729-C36CF5BEAF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862" y="165465"/>
            <a:ext cx="1319876" cy="783095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1B791D0-7E7D-BE49-BE5F-FE0EFE8F0B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1812" y="873124"/>
            <a:ext cx="10325100" cy="799559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2200"/>
              </a:lnSpc>
              <a:defRPr sz="20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05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Date or Caption text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08EAD87-57A8-7C45-95B4-55BB4A4073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30270" y="3888233"/>
            <a:ext cx="15543806" cy="4733504"/>
          </a:xfrm>
          <a:prstGeom prst="rect">
            <a:avLst/>
          </a:prstGeom>
        </p:spPr>
      </p:pic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781811" y="1925424"/>
            <a:ext cx="10312461" cy="1503576"/>
          </a:xfrm>
          <a:prstGeom prst="rect">
            <a:avLst/>
          </a:prstGeom>
        </p:spPr>
        <p:txBody>
          <a:bodyPr/>
          <a:lstStyle>
            <a:lvl1pPr>
              <a:lnSpc>
                <a:spcPts val="5000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.</a:t>
            </a:r>
          </a:p>
        </p:txBody>
      </p:sp>
    </p:spTree>
    <p:extLst>
      <p:ext uri="{BB962C8B-B14F-4D97-AF65-F5344CB8AC3E}">
        <p14:creationId xmlns:p14="http://schemas.microsoft.com/office/powerpoint/2010/main" val="3411699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i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41301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733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191047"/>
            <a:ext cx="10933351" cy="775597"/>
          </a:xfrm>
        </p:spPr>
        <p:txBody>
          <a:bodyPr lIns="90000" tIns="46800" rIns="90000" bIns="46800" anchor="ctr" anchorCtr="0">
            <a:noAutofit/>
          </a:bodyPr>
          <a:lstStyle>
            <a:lvl1pPr>
              <a:defRPr sz="3733" b="1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1093699"/>
            <a:ext cx="12192000" cy="0"/>
          </a:xfrm>
          <a:prstGeom prst="line">
            <a:avLst/>
          </a:prstGeom>
          <a:ln w="38100" cap="rnd">
            <a:solidFill>
              <a:srgbClr val="FCE500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149DF05-C39C-D149-98CC-3AE4AFFBE466}"/>
              </a:ext>
            </a:extLst>
          </p:cNvPr>
          <p:cNvSpPr/>
          <p:nvPr userDrawn="1"/>
        </p:nvSpPr>
        <p:spPr>
          <a:xfrm>
            <a:off x="0" y="6750496"/>
            <a:ext cx="12192000" cy="136525"/>
          </a:xfrm>
          <a:prstGeom prst="rect">
            <a:avLst/>
          </a:prstGeom>
          <a:solidFill>
            <a:srgbClr val="FE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E3D1BC-DDF6-4020-8B51-445C79041ED1}"/>
              </a:ext>
            </a:extLst>
          </p:cNvPr>
          <p:cNvSpPr txBox="1"/>
          <p:nvPr userDrawn="1"/>
        </p:nvSpPr>
        <p:spPr>
          <a:xfrm>
            <a:off x="74428" y="6767463"/>
            <a:ext cx="1692771" cy="10259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667">
                <a:latin typeface="+mn-lt"/>
                <a:ea typeface="+mn-ea"/>
                <a:cs typeface="+mn-cs"/>
                <a:sym typeface="+mn-lt"/>
              </a:rPr>
              <a:t>Confidential &amp; Proprietary © 2021 McCain Foods</a:t>
            </a:r>
          </a:p>
        </p:txBody>
      </p:sp>
    </p:spTree>
    <p:extLst>
      <p:ext uri="{BB962C8B-B14F-4D97-AF65-F5344CB8AC3E}">
        <p14:creationId xmlns:p14="http://schemas.microsoft.com/office/powerpoint/2010/main" val="272920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913" y="115030"/>
            <a:ext cx="11763739" cy="817695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3497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913" y="211041"/>
            <a:ext cx="11763739" cy="817695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8913" y="1220756"/>
            <a:ext cx="11763739" cy="4704523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667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21136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3429C6C-1146-384D-A1E7-2CEAEA5D9A5D}"/>
              </a:ext>
            </a:extLst>
          </p:cNvPr>
          <p:cNvSpPr/>
          <p:nvPr userDrawn="1"/>
        </p:nvSpPr>
        <p:spPr>
          <a:xfrm rot="5400000">
            <a:off x="6011242" y="677241"/>
            <a:ext cx="169517" cy="12192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104A22-7BAF-FD4B-AE2C-BEECC8548387}"/>
              </a:ext>
            </a:extLst>
          </p:cNvPr>
          <p:cNvSpPr txBox="1"/>
          <p:nvPr userDrawn="1"/>
        </p:nvSpPr>
        <p:spPr>
          <a:xfrm>
            <a:off x="-28106" y="6688483"/>
            <a:ext cx="355168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b="0" i="0" spc="50" baseline="0">
                <a:solidFill>
                  <a:schemeClr val="tx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Confidential &amp; Proprietary © 2022 McCain Foods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986EFC93-FF30-7A4D-AB49-ACDDF2A612A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862" y="165465"/>
            <a:ext cx="1319876" cy="783095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EB00B891-461D-D74B-B310-E89E5785222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30270" y="3888233"/>
            <a:ext cx="15543806" cy="473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374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8" r:id="rId1"/>
    <p:sldLayoutId id="2147484098" r:id="rId2"/>
    <p:sldLayoutId id="2147484623" r:id="rId3"/>
  </p:sldLayoutIdLst>
  <p:hf sldNum="0" hdr="0" ftr="0" dt="0"/>
  <p:txStyles>
    <p:titleStyle>
      <a:lvl1pPr algn="l" defTabSz="914318" rtl="0" eaLnBrk="1" latinLnBrk="0" hangingPunct="1">
        <a:lnSpc>
          <a:spcPct val="80000"/>
        </a:lnSpc>
        <a:spcBef>
          <a:spcPct val="0"/>
        </a:spcBef>
        <a:buNone/>
        <a:defRPr sz="4400" b="1" i="0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18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00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28" pos="211" userDrawn="1">
          <p15:clr>
            <a:srgbClr val="F26B43"/>
          </p15:clr>
        </p15:guide>
        <p15:guide id="29" pos="7320">
          <p15:clr>
            <a:srgbClr val="F26B43"/>
          </p15:clr>
        </p15:guide>
        <p15:guide id="48" pos="1890" userDrawn="1">
          <p15:clr>
            <a:srgbClr val="F26B43"/>
          </p15:clr>
        </p15:guide>
        <p15:guide id="51" orient="horz" pos="210" userDrawn="1">
          <p15:clr>
            <a:srgbClr val="F26B43"/>
          </p15:clr>
        </p15:guide>
        <p15:guide id="52" orient="horz" pos="550" userDrawn="1">
          <p15:clr>
            <a:srgbClr val="F26B43"/>
          </p15:clr>
        </p15:guide>
        <p15:guide id="53" pos="48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3429C6C-1146-384D-A1E7-2CEAEA5D9A5D}"/>
              </a:ext>
            </a:extLst>
          </p:cNvPr>
          <p:cNvSpPr/>
          <p:nvPr userDrawn="1"/>
        </p:nvSpPr>
        <p:spPr>
          <a:xfrm rot="5400000">
            <a:off x="6011242" y="677241"/>
            <a:ext cx="169517" cy="12192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104A22-7BAF-FD4B-AE2C-BEECC8548387}"/>
              </a:ext>
            </a:extLst>
          </p:cNvPr>
          <p:cNvSpPr txBox="1"/>
          <p:nvPr userDrawn="1"/>
        </p:nvSpPr>
        <p:spPr>
          <a:xfrm>
            <a:off x="-28106" y="6688483"/>
            <a:ext cx="355168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b="0" i="0" spc="50" baseline="0">
                <a:latin typeface="Century Gothic" panose="020B0502020202020204" pitchFamily="34" charset="0"/>
                <a:cs typeface="Calibri" panose="020F0502020204030204" pitchFamily="34" charset="0"/>
              </a:rPr>
              <a:t>Confidential &amp; Proprietary © 2022 McCain Foods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BCE1CA32-58C3-A74C-A573-7329A31C5A8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804" y="6048679"/>
            <a:ext cx="815392" cy="48378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AA37E7-FB82-9A43-9157-6F01B12BB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97383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11FF7F-6CD8-5443-B232-DC16C2F029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33375"/>
            <a:ext cx="10515600" cy="24200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5000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174" r:id="rId2"/>
    <p:sldLayoutId id="2147484355" r:id="rId3"/>
    <p:sldLayoutId id="2147484357" r:id="rId4"/>
    <p:sldLayoutId id="2147484359" r:id="rId5"/>
    <p:sldLayoutId id="2147484360" r:id="rId6"/>
    <p:sldLayoutId id="2147484361" r:id="rId7"/>
    <p:sldLayoutId id="2147484625" r:id="rId8"/>
    <p:sldLayoutId id="2147484639" r:id="rId9"/>
    <p:sldLayoutId id="2147484640" r:id="rId10"/>
    <p:sldLayoutId id="2147484641" r:id="rId11"/>
    <p:sldLayoutId id="2147484642" r:id="rId12"/>
  </p:sldLayoutIdLst>
  <p:hf sldNum="0" hdr="0" ftr="0" dt="0"/>
  <p:txStyles>
    <p:titleStyle>
      <a:lvl1pPr algn="l" defTabSz="914318" rtl="0" eaLnBrk="1" latinLnBrk="0" hangingPunct="1">
        <a:lnSpc>
          <a:spcPct val="80000"/>
        </a:lnSpc>
        <a:spcBef>
          <a:spcPct val="0"/>
        </a:spcBef>
        <a:buNone/>
        <a:defRPr sz="4400" b="1" i="0" kern="1200" cap="none" spc="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318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None/>
        <a:defRPr sz="2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00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28" pos="211" userDrawn="1">
          <p15:clr>
            <a:srgbClr val="F26B43"/>
          </p15:clr>
        </p15:guide>
        <p15:guide id="29" pos="7320">
          <p15:clr>
            <a:srgbClr val="F26B43"/>
          </p15:clr>
        </p15:guide>
        <p15:guide id="48" pos="1890" userDrawn="1">
          <p15:clr>
            <a:srgbClr val="F26B43"/>
          </p15:clr>
        </p15:guide>
        <p15:guide id="51" orient="horz" pos="210" userDrawn="1">
          <p15:clr>
            <a:srgbClr val="F26B43"/>
          </p15:clr>
        </p15:guide>
        <p15:guide id="52" orient="horz" pos="504" userDrawn="1">
          <p15:clr>
            <a:srgbClr val="F26B43"/>
          </p15:clr>
        </p15:guide>
        <p15:guide id="53" pos="48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52621" y="92689"/>
            <a:ext cx="513735" cy="2271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 b="0" i="0">
                <a:solidFill>
                  <a:schemeClr val="tx1">
                    <a:alpha val="70000"/>
                  </a:schemeClr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429C6C-1146-384D-A1E7-2CEAEA5D9A5D}"/>
              </a:ext>
            </a:extLst>
          </p:cNvPr>
          <p:cNvSpPr/>
          <p:nvPr userDrawn="1"/>
        </p:nvSpPr>
        <p:spPr>
          <a:xfrm rot="5400000">
            <a:off x="6011242" y="677241"/>
            <a:ext cx="169517" cy="12192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104A22-7BAF-FD4B-AE2C-BEECC8548387}"/>
              </a:ext>
            </a:extLst>
          </p:cNvPr>
          <p:cNvSpPr txBox="1"/>
          <p:nvPr userDrawn="1"/>
        </p:nvSpPr>
        <p:spPr>
          <a:xfrm>
            <a:off x="-28106" y="6688483"/>
            <a:ext cx="355168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b="0" i="0" spc="50" baseline="0">
                <a:latin typeface="Century Gothic" panose="020B0502020202020204" pitchFamily="34" charset="0"/>
                <a:cs typeface="Calibri" panose="020F0502020204030204" pitchFamily="34" charset="0"/>
              </a:rPr>
              <a:t>Confidential &amp; Proprietary © 2022 McCain Foods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4CA8212-83BE-0B4C-AEC8-25814CA8AA6E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804" y="6048679"/>
            <a:ext cx="815392" cy="483780"/>
          </a:xfrm>
          <a:prstGeom prst="rect">
            <a:avLst/>
          </a:prstGeom>
        </p:spPr>
      </p:pic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729DD7F8-51CF-454F-B321-3D641ABA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365125"/>
            <a:ext cx="11468100" cy="11812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7892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1" r:id="rId2"/>
    <p:sldLayoutId id="2147484213" r:id="rId3"/>
    <p:sldLayoutId id="2147484214" r:id="rId4"/>
    <p:sldLayoutId id="2147484209" r:id="rId5"/>
    <p:sldLayoutId id="2147484203" r:id="rId6"/>
    <p:sldLayoutId id="2147484216" r:id="rId7"/>
    <p:sldLayoutId id="2147484204" r:id="rId8"/>
    <p:sldLayoutId id="2147484210" r:id="rId9"/>
    <p:sldLayoutId id="2147484215" r:id="rId10"/>
    <p:sldLayoutId id="2147484212" r:id="rId11"/>
    <p:sldLayoutId id="2147484211" r:id="rId12"/>
  </p:sldLayoutIdLst>
  <p:hf sldNum="0" hdr="0" ftr="0" dt="0"/>
  <p:txStyles>
    <p:titleStyle>
      <a:lvl1pPr algn="l" defTabSz="914318" rtl="0" eaLnBrk="1" latinLnBrk="0" hangingPunct="1">
        <a:lnSpc>
          <a:spcPct val="80000"/>
        </a:lnSpc>
        <a:spcBef>
          <a:spcPct val="0"/>
        </a:spcBef>
        <a:buNone/>
        <a:defRPr sz="3600" b="1" i="0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18" rtl="0" eaLnBrk="1" latinLnBrk="0" hangingPunct="1">
        <a:lnSpc>
          <a:spcPts val="3000"/>
        </a:lnSpc>
        <a:spcBef>
          <a:spcPts val="1000"/>
        </a:spcBef>
        <a:buFont typeface="Arial" panose="020B0604020202020204" pitchFamily="34" charset="0"/>
        <a:buNone/>
        <a:defRPr sz="2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318" rtl="0" eaLnBrk="1" latinLnBrk="0" hangingPunct="1">
        <a:lnSpc>
          <a:spcPts val="2600"/>
        </a:lnSpc>
        <a:spcBef>
          <a:spcPts val="499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18" rtl="0" eaLnBrk="1" latinLnBrk="0" hangingPunct="1">
        <a:lnSpc>
          <a:spcPts val="1800"/>
        </a:lnSpc>
        <a:spcBef>
          <a:spcPts val="499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05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914318" rtl="0" eaLnBrk="1" latinLnBrk="0" hangingPunct="1">
        <a:lnSpc>
          <a:spcPct val="120000"/>
        </a:lnSpc>
        <a:spcBef>
          <a:spcPts val="499"/>
        </a:spcBef>
        <a:buFont typeface="Arial" panose="020B0604020202020204" pitchFamily="34" charset="0"/>
        <a:buNone/>
        <a:defRPr sz="105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28" pos="211">
          <p15:clr>
            <a:srgbClr val="F26B43"/>
          </p15:clr>
        </p15:guide>
        <p15:guide id="29" pos="7320">
          <p15:clr>
            <a:srgbClr val="F26B43"/>
          </p15:clr>
        </p15:guide>
        <p15:guide id="48" pos="1890">
          <p15:clr>
            <a:srgbClr val="F26B43"/>
          </p15:clr>
        </p15:guide>
        <p15:guide id="51" orient="horz" pos="210">
          <p15:clr>
            <a:srgbClr val="F26B43"/>
          </p15:clr>
        </p15:guide>
        <p15:guide id="52" orient="horz" pos="50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8913" y="115034"/>
            <a:ext cx="10515600" cy="8176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8913" y="1220757"/>
            <a:ext cx="10515600" cy="47045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748860"/>
            <a:ext cx="12192000" cy="136525"/>
          </a:xfrm>
          <a:prstGeom prst="rect">
            <a:avLst/>
          </a:prstGeom>
          <a:solidFill>
            <a:srgbClr val="FE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/>
          <p:cNvSpPr txBox="1"/>
          <p:nvPr userDrawn="1"/>
        </p:nvSpPr>
        <p:spPr>
          <a:xfrm>
            <a:off x="-48682" y="6693365"/>
            <a:ext cx="1891865" cy="1949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7"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 © 2018 McCain Foods</a:t>
            </a:r>
          </a:p>
        </p:txBody>
      </p:sp>
    </p:spTree>
    <p:extLst>
      <p:ext uri="{BB962C8B-B14F-4D97-AF65-F5344CB8AC3E}">
        <p14:creationId xmlns:p14="http://schemas.microsoft.com/office/powerpoint/2010/main" val="1508866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7" r:id="rId1"/>
    <p:sldLayoutId id="2147484628" r:id="rId2"/>
    <p:sldLayoutId id="2147484629" r:id="rId3"/>
    <p:sldLayoutId id="2147484630" r:id="rId4"/>
    <p:sldLayoutId id="2147484631" r:id="rId5"/>
    <p:sldLayoutId id="2147484632" r:id="rId6"/>
    <p:sldLayoutId id="2147484633" r:id="rId7"/>
    <p:sldLayoutId id="2147484634" r:id="rId8"/>
    <p:sldLayoutId id="2147484635" r:id="rId9"/>
    <p:sldLayoutId id="2147484636" r:id="rId10"/>
    <p:sldLayoutId id="2147484637" r:id="rId11"/>
    <p:sldLayoutId id="2147484638" r:id="rId12"/>
  </p:sldLayoutIdLst>
  <p:txStyles>
    <p:titleStyle>
      <a:lvl1pPr algn="l" defTabSz="1219080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04768" indent="-304768" algn="l" defTabSz="121908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9" indent="-304768" algn="l" defTabSz="121908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9" indent="-304768" algn="l" defTabSz="121908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7" indent="-304768" algn="l" defTabSz="121908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6" indent="-304768" algn="l" defTabSz="121908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11" Type="http://schemas.openxmlformats.org/officeDocument/2006/relationships/image" Target="../media/image19.png"/><Relationship Id="rId5" Type="http://schemas.openxmlformats.org/officeDocument/2006/relationships/image" Target="../media/image14.png"/><Relationship Id="rId10" Type="http://schemas.microsoft.com/office/2007/relationships/hdphoto" Target="../media/hdphoto1.wdp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9C4B10-B70E-1DE0-E7A8-15ADB52E6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A824C67-23C2-DEA1-09DD-985FCDAC3F4F}"/>
              </a:ext>
            </a:extLst>
          </p:cNvPr>
          <p:cNvSpPr/>
          <p:nvPr/>
        </p:nvSpPr>
        <p:spPr>
          <a:xfrm>
            <a:off x="11045371" y="5985985"/>
            <a:ext cx="1030469" cy="5784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93162-870C-0EBE-F4C1-905936027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101" y="354516"/>
            <a:ext cx="11763739" cy="817695"/>
          </a:xfrm>
        </p:spPr>
        <p:txBody>
          <a:bodyPr anchor="b">
            <a:normAutofit/>
          </a:bodyPr>
          <a:lstStyle/>
          <a:p>
            <a:r>
              <a:rPr lang="en-US" sz="4000" dirty="0">
                <a:solidFill>
                  <a:schemeClr val="tx1"/>
                </a:solidFill>
              </a:rPr>
              <a:t>Summer BBQ Idea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E8CF290-5333-A328-29E9-AA886C1F2F51}"/>
              </a:ext>
            </a:extLst>
          </p:cNvPr>
          <p:cNvSpPr txBox="1">
            <a:spLocks/>
          </p:cNvSpPr>
          <p:nvPr/>
        </p:nvSpPr>
        <p:spPr>
          <a:xfrm>
            <a:off x="378089" y="1326920"/>
            <a:ext cx="5267968" cy="109696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i="0" kern="1200" cap="none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0" dirty="0">
                <a:solidFill>
                  <a:schemeClr val="tx1"/>
                </a:solidFill>
              </a:rPr>
              <a:t>We’ve got this year’s summer BBQs covered.</a:t>
            </a:r>
          </a:p>
        </p:txBody>
      </p:sp>
      <p:pic>
        <p:nvPicPr>
          <p:cNvPr id="6" name="Picture 5" descr="A box of chicken nuggets&#10;&#10;AI-generated content may be incorrect.">
            <a:extLst>
              <a:ext uri="{FF2B5EF4-FFF2-40B4-BE49-F238E27FC236}">
                <a16:creationId xmlns:a16="http://schemas.microsoft.com/office/drawing/2014/main" id="{EBE30EDB-3833-30CC-9301-EFF89B34F7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5442" y="4278399"/>
            <a:ext cx="2011178" cy="1449355"/>
          </a:xfrm>
          <a:prstGeom prst="rect">
            <a:avLst/>
          </a:prstGeom>
        </p:spPr>
      </p:pic>
      <p:pic>
        <p:nvPicPr>
          <p:cNvPr id="7" name="Picture 6" descr="A box of food on a red background&#10;&#10;AI-generated content may be incorrect.">
            <a:extLst>
              <a:ext uri="{FF2B5EF4-FFF2-40B4-BE49-F238E27FC236}">
                <a16:creationId xmlns:a16="http://schemas.microsoft.com/office/drawing/2014/main" id="{3B70DFD3-0394-E762-A346-48E51B4E6D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010" y="4278401"/>
            <a:ext cx="2011177" cy="1449354"/>
          </a:xfrm>
          <a:prstGeom prst="rect">
            <a:avLst/>
          </a:prstGeom>
        </p:spPr>
      </p:pic>
      <p:pic>
        <p:nvPicPr>
          <p:cNvPr id="8" name="Picture 7" descr="A bag of potato chips&#10;&#10;AI-generated content may be incorrect.">
            <a:extLst>
              <a:ext uri="{FF2B5EF4-FFF2-40B4-BE49-F238E27FC236}">
                <a16:creationId xmlns:a16="http://schemas.microsoft.com/office/drawing/2014/main" id="{093877BC-3E4C-59B7-DA13-E9D67AC9E9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861" y="3263601"/>
            <a:ext cx="1587823" cy="2547099"/>
          </a:xfrm>
          <a:prstGeom prst="rect">
            <a:avLst/>
          </a:prstGeom>
        </p:spPr>
      </p:pic>
      <p:pic>
        <p:nvPicPr>
          <p:cNvPr id="9" name="Picture 8" descr="A box of food on a red background&#10;&#10;AI-generated content may be incorrect.">
            <a:extLst>
              <a:ext uri="{FF2B5EF4-FFF2-40B4-BE49-F238E27FC236}">
                <a16:creationId xmlns:a16="http://schemas.microsoft.com/office/drawing/2014/main" id="{B4C42E51-61A5-753B-800C-1A9780B9A6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86" y="2736213"/>
            <a:ext cx="2003873" cy="1449355"/>
          </a:xfrm>
          <a:prstGeom prst="rect">
            <a:avLst/>
          </a:prstGeom>
        </p:spPr>
      </p:pic>
      <p:pic>
        <p:nvPicPr>
          <p:cNvPr id="11" name="Picture 10" descr="A bag of food with a yellow label&#10;&#10;AI-generated content may be incorrect.">
            <a:extLst>
              <a:ext uri="{FF2B5EF4-FFF2-40B4-BE49-F238E27FC236}">
                <a16:creationId xmlns:a16="http://schemas.microsoft.com/office/drawing/2014/main" id="{0CEC1927-C9D6-6E8E-5EA6-70D958026C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0321" y="3651357"/>
            <a:ext cx="1587823" cy="2109430"/>
          </a:xfrm>
          <a:prstGeom prst="rect">
            <a:avLst/>
          </a:prstGeom>
        </p:spPr>
      </p:pic>
      <p:pic>
        <p:nvPicPr>
          <p:cNvPr id="12" name="Picture 11" descr="A box of cake with white frosting&#10;&#10;AI-generated content may be incorrect.">
            <a:extLst>
              <a:ext uri="{FF2B5EF4-FFF2-40B4-BE49-F238E27FC236}">
                <a16:creationId xmlns:a16="http://schemas.microsoft.com/office/drawing/2014/main" id="{70301306-9C6D-6DBA-543D-B86A372CC1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0760" y="3551060"/>
            <a:ext cx="3318668" cy="2259640"/>
          </a:xfrm>
          <a:prstGeom prst="rect">
            <a:avLst/>
          </a:prstGeom>
        </p:spPr>
      </p:pic>
      <p:pic>
        <p:nvPicPr>
          <p:cNvPr id="13" name="Picture 12" descr="A box of food on an orange background&#10;&#10;AI-generated content may be incorrect.">
            <a:extLst>
              <a:ext uri="{FF2B5EF4-FFF2-40B4-BE49-F238E27FC236}">
                <a16:creationId xmlns:a16="http://schemas.microsoft.com/office/drawing/2014/main" id="{9F54D60B-30D8-1331-C896-1038D3C175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5442" y="2736213"/>
            <a:ext cx="2011178" cy="1449355"/>
          </a:xfrm>
          <a:prstGeom prst="rect">
            <a:avLst/>
          </a:prstGeom>
        </p:spPr>
      </p:pic>
      <p:pic>
        <p:nvPicPr>
          <p:cNvPr id="16" name="Picture 15" descr="A group of people in a yard&#10;&#10;AI-generated content may be incorrect.">
            <a:extLst>
              <a:ext uri="{FF2B5EF4-FFF2-40B4-BE49-F238E27FC236}">
                <a16:creationId xmlns:a16="http://schemas.microsoft.com/office/drawing/2014/main" id="{839A92D4-5A38-50BF-70A4-6E82A4476A5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" contras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668" r="1672" b="-1"/>
          <a:stretch/>
        </p:blipFill>
        <p:spPr>
          <a:xfrm>
            <a:off x="5723974" y="457811"/>
            <a:ext cx="6063820" cy="2536745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6DE093D4-9D9C-B4A2-907D-F13BEAE0F1D0}"/>
              </a:ext>
            </a:extLst>
          </p:cNvPr>
          <p:cNvSpPr/>
          <p:nvPr/>
        </p:nvSpPr>
        <p:spPr>
          <a:xfrm>
            <a:off x="1578677" y="5985986"/>
            <a:ext cx="2113550" cy="3204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Appetizer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944DC3-7279-79CB-2D66-A5966B270B5F}"/>
              </a:ext>
            </a:extLst>
          </p:cNvPr>
          <p:cNvSpPr/>
          <p:nvPr/>
        </p:nvSpPr>
        <p:spPr>
          <a:xfrm>
            <a:off x="6089773" y="5985986"/>
            <a:ext cx="2113550" cy="3204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Sid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3CF23B5-CBDC-8156-0047-8484CEF4588D}"/>
              </a:ext>
            </a:extLst>
          </p:cNvPr>
          <p:cNvSpPr/>
          <p:nvPr/>
        </p:nvSpPr>
        <p:spPr>
          <a:xfrm>
            <a:off x="9454479" y="5985985"/>
            <a:ext cx="2113550" cy="3204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Dessert</a:t>
            </a:r>
          </a:p>
        </p:txBody>
      </p:sp>
      <p:pic>
        <p:nvPicPr>
          <p:cNvPr id="2052" name="Picture 4" descr="Logo&#10;&#10;Description automatically generated">
            <a:extLst>
              <a:ext uri="{FF2B5EF4-FFF2-40B4-BE49-F238E27FC236}">
                <a16:creationId xmlns:a16="http://schemas.microsoft.com/office/drawing/2014/main" id="{5AC1514E-08F2-8534-A420-E652AF867F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01" y="2499615"/>
            <a:ext cx="866515" cy="453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2690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dM5SVzBFGtVtmHXjm3Tw"/>
</p:tagLst>
</file>

<file path=ppt/theme/theme1.xml><?xml version="1.0" encoding="utf-8"?>
<a:theme xmlns:a="http://schemas.openxmlformats.org/drawingml/2006/main" name="Main Title Page Slide Options">
  <a:themeElements>
    <a:clrScheme name="McCain">
      <a:dk1>
        <a:srgbClr val="000000"/>
      </a:dk1>
      <a:lt1>
        <a:srgbClr val="FFFFFF"/>
      </a:lt1>
      <a:dk2>
        <a:srgbClr val="003366"/>
      </a:dk2>
      <a:lt2>
        <a:srgbClr val="C9BFB0"/>
      </a:lt2>
      <a:accent1>
        <a:srgbClr val="FEE000"/>
      </a:accent1>
      <a:accent2>
        <a:srgbClr val="86CAC6"/>
      </a:accent2>
      <a:accent3>
        <a:srgbClr val="F68712"/>
      </a:accent3>
      <a:accent4>
        <a:srgbClr val="5D89E9"/>
      </a:accent4>
      <a:accent5>
        <a:srgbClr val="009863"/>
      </a:accent5>
      <a:accent6>
        <a:srgbClr val="EC3400"/>
      </a:accent6>
      <a:hlink>
        <a:srgbClr val="003366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/>
      <a:lstStyle>
        <a:defPPr algn="l">
          <a:defRPr sz="2000" b="1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cCain Powerpoint Template 2022" id="{9FB63425-539E-4B4A-8BF6-68894CEE1FFF}" vid="{B715B870-CA9F-4A4F-B3EA-A98327C7BD44}"/>
    </a:ext>
  </a:extLst>
</a:theme>
</file>

<file path=ppt/theme/theme2.xml><?xml version="1.0" encoding="utf-8"?>
<a:theme xmlns:a="http://schemas.openxmlformats.org/drawingml/2006/main" name="Section Divider Slide Options">
  <a:themeElements>
    <a:clrScheme name="McCain">
      <a:dk1>
        <a:srgbClr val="000000"/>
      </a:dk1>
      <a:lt1>
        <a:srgbClr val="FFFFFF"/>
      </a:lt1>
      <a:dk2>
        <a:srgbClr val="003366"/>
      </a:dk2>
      <a:lt2>
        <a:srgbClr val="C9BFB0"/>
      </a:lt2>
      <a:accent1>
        <a:srgbClr val="FEE000"/>
      </a:accent1>
      <a:accent2>
        <a:srgbClr val="86CAC6"/>
      </a:accent2>
      <a:accent3>
        <a:srgbClr val="F68712"/>
      </a:accent3>
      <a:accent4>
        <a:srgbClr val="5D89E9"/>
      </a:accent4>
      <a:accent5>
        <a:srgbClr val="009863"/>
      </a:accent5>
      <a:accent6>
        <a:srgbClr val="EC3400"/>
      </a:accent6>
      <a:hlink>
        <a:srgbClr val="003366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cCain Powerpoint Template 2022" id="{9FB63425-539E-4B4A-8BF6-68894CEE1FFF}" vid="{82D212D2-E402-824E-BBE1-0F96AA21888E}"/>
    </a:ext>
  </a:extLst>
</a:theme>
</file>

<file path=ppt/theme/theme3.xml><?xml version="1.0" encoding="utf-8"?>
<a:theme xmlns:a="http://schemas.openxmlformats.org/drawingml/2006/main" name="Content Slide Options">
  <a:themeElements>
    <a:clrScheme name="McCain">
      <a:dk1>
        <a:srgbClr val="000000"/>
      </a:dk1>
      <a:lt1>
        <a:srgbClr val="FFFFFF"/>
      </a:lt1>
      <a:dk2>
        <a:srgbClr val="003366"/>
      </a:dk2>
      <a:lt2>
        <a:srgbClr val="C9BFB0"/>
      </a:lt2>
      <a:accent1>
        <a:srgbClr val="FEE000"/>
      </a:accent1>
      <a:accent2>
        <a:srgbClr val="86CAC6"/>
      </a:accent2>
      <a:accent3>
        <a:srgbClr val="F68712"/>
      </a:accent3>
      <a:accent4>
        <a:srgbClr val="5D89E9"/>
      </a:accent4>
      <a:accent5>
        <a:srgbClr val="009863"/>
      </a:accent5>
      <a:accent6>
        <a:srgbClr val="EC3400"/>
      </a:accent6>
      <a:hlink>
        <a:srgbClr val="003366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cCain Powerpoint Template 2022" id="{9FB63425-539E-4B4A-8BF6-68894CEE1FFF}" vid="{5003728B-A557-044F-8F2F-40F756502F76}"/>
    </a:ext>
  </a:extLst>
</a:theme>
</file>

<file path=ppt/theme/theme4.xml><?xml version="1.0" encoding="utf-8"?>
<a:theme xmlns:a="http://schemas.openxmlformats.org/drawingml/2006/main" name="8_Custom Design">
  <a:themeElements>
    <a:clrScheme name="McCain Colour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99EBA"/>
      </a:accent1>
      <a:accent2>
        <a:srgbClr val="6F9F00"/>
      </a:accent2>
      <a:accent3>
        <a:srgbClr val="EE8B24"/>
      </a:accent3>
      <a:accent4>
        <a:srgbClr val="AC5225"/>
      </a:accent4>
      <a:accent5>
        <a:srgbClr val="FFCE00"/>
      </a:accent5>
      <a:accent6>
        <a:srgbClr val="B79D6D"/>
      </a:accent6>
      <a:hlink>
        <a:srgbClr val="3A7384"/>
      </a:hlink>
      <a:folHlink>
        <a:srgbClr val="B79D6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154cf36-3fec-4a10-b85f-636dc01efb8c" xsi:nil="true"/>
    <lcf76f155ced4ddcb4097134ff3c332f xmlns="6514f6a9-d3ce-43f7-aeb4-df6c89deb68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8A9935D898AA41B73131FFE9401FDF" ma:contentTypeVersion="13" ma:contentTypeDescription="Create a new document." ma:contentTypeScope="" ma:versionID="271d99166a74d248cb082d87b95e68c1">
  <xsd:schema xmlns:xsd="http://www.w3.org/2001/XMLSchema" xmlns:xs="http://www.w3.org/2001/XMLSchema" xmlns:p="http://schemas.microsoft.com/office/2006/metadata/properties" xmlns:ns2="6514f6a9-d3ce-43f7-aeb4-df6c89deb687" xmlns:ns3="0154cf36-3fec-4a10-b85f-636dc01efb8c" targetNamespace="http://schemas.microsoft.com/office/2006/metadata/properties" ma:root="true" ma:fieldsID="18e7802af33c1960b5c73400dcb65ec8" ns2:_="" ns3:_="">
    <xsd:import namespace="6514f6a9-d3ce-43f7-aeb4-df6c89deb687"/>
    <xsd:import namespace="0154cf36-3fec-4a10-b85f-636dc01efb8c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14f6a9-d3ce-43f7-aeb4-df6c89deb687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36d423ec-f917-469f-b640-95cf5b01f8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54cf36-3fec-4a10-b85f-636dc01efb8c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dfdfa5b6-b185-4742-b1cf-589141f7c92b}" ma:internalName="TaxCatchAll" ma:showField="CatchAllData" ma:web="0154cf36-3fec-4a10-b85f-636dc01efb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8AA2BA0-8F25-4820-B8FB-0F71C456976F}">
  <ds:schemaRefs>
    <ds:schemaRef ds:uri="0154cf36-3fec-4a10-b85f-636dc01efb8c"/>
    <ds:schemaRef ds:uri="http://schemas.openxmlformats.org/package/2006/metadata/core-properties"/>
    <ds:schemaRef ds:uri="http://www.w3.org/XML/1998/namespace"/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6514f6a9-d3ce-43f7-aeb4-df6c89deb687"/>
  </ds:schemaRefs>
</ds:datastoreItem>
</file>

<file path=customXml/itemProps2.xml><?xml version="1.0" encoding="utf-8"?>
<ds:datastoreItem xmlns:ds="http://schemas.openxmlformats.org/officeDocument/2006/customXml" ds:itemID="{B6EC3A0E-5B6B-4C65-8B07-F5D29C17BF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61FE3C7-9B57-4945-AAF8-C67D5E677C4C}">
  <ds:schemaRefs>
    <ds:schemaRef ds:uri="0154cf36-3fec-4a10-b85f-636dc01efb8c"/>
    <ds:schemaRef ds:uri="6514f6a9-d3ce-43f7-aeb4-df6c89deb68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14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entury Gothic</vt:lpstr>
      <vt:lpstr>Lato</vt:lpstr>
      <vt:lpstr>Wingdings</vt:lpstr>
      <vt:lpstr>Main Title Page Slide Options</vt:lpstr>
      <vt:lpstr>Section Divider Slide Options</vt:lpstr>
      <vt:lpstr>Content Slide Options</vt:lpstr>
      <vt:lpstr>8_Custom Design</vt:lpstr>
      <vt:lpstr>think-cell Slide</vt:lpstr>
      <vt:lpstr>Summer BBQ Idea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Leadership Team Connect.</dc:title>
  <dc:creator>TRIGGIANI, ANNA</dc:creator>
  <cp:lastModifiedBy>DI NUNZIO, JULIANA N.</cp:lastModifiedBy>
  <cp:revision>35</cp:revision>
  <cp:lastPrinted>2023-10-17T15:20:21Z</cp:lastPrinted>
  <dcterms:created xsi:type="dcterms:W3CDTF">2022-01-24T15:52:33Z</dcterms:created>
  <dcterms:modified xsi:type="dcterms:W3CDTF">2025-06-24T14:0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8A9935D898AA41B73131FFE9401FDF</vt:lpwstr>
  </property>
  <property fmtid="{D5CDD505-2E9C-101B-9397-08002B2CF9AE}" pid="3" name="MediaServiceImageTags">
    <vt:lpwstr/>
  </property>
</Properties>
</file>